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0"/>
  </p:notesMasterIdLst>
  <p:sldIdLst>
    <p:sldId id="4178" r:id="rId2"/>
    <p:sldId id="4179" r:id="rId3"/>
    <p:sldId id="4180" r:id="rId4"/>
    <p:sldId id="4181" r:id="rId5"/>
    <p:sldId id="4182" r:id="rId6"/>
    <p:sldId id="4183" r:id="rId7"/>
    <p:sldId id="4184" r:id="rId8"/>
    <p:sldId id="4185"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E2E3"/>
    <a:srgbClr val="324C52"/>
    <a:srgbClr val="FF00FF"/>
    <a:srgbClr val="55FF00"/>
    <a:srgbClr val="1D1CC2"/>
    <a:srgbClr val="EA10EA"/>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2E345A-6BE9-451C-B3A2-7918652E0B1A}" v="670" dt="2021-07-12T07:58:19.00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943" autoAdjust="0"/>
    <p:restoredTop sz="95366" autoAdjust="0"/>
  </p:normalViewPr>
  <p:slideViewPr>
    <p:cSldViewPr snapToGrid="0">
      <p:cViewPr varScale="1">
        <p:scale>
          <a:sx n="117" d="100"/>
          <a:sy n="117" d="100"/>
        </p:scale>
        <p:origin x="126" y="2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E" userId="5cf36b76a1ed2b08" providerId="LiveId" clId="{922E345A-6BE9-451C-B3A2-7918652E0B1A}"/>
    <pc:docChg chg="undo redo custSel modSld">
      <pc:chgData name="Michael E" userId="5cf36b76a1ed2b08" providerId="LiveId" clId="{922E345A-6BE9-451C-B3A2-7918652E0B1A}" dt="2021-07-12T08:03:09.114" v="1014" actId="166"/>
      <pc:docMkLst>
        <pc:docMk/>
      </pc:docMkLst>
      <pc:sldChg chg="addSp delSp modSp mod">
        <pc:chgData name="Michael E" userId="5cf36b76a1ed2b08" providerId="LiveId" clId="{922E345A-6BE9-451C-B3A2-7918652E0B1A}" dt="2021-07-12T06:48:45.350" v="585" actId="478"/>
        <pc:sldMkLst>
          <pc:docMk/>
          <pc:sldMk cId="2599480837" sldId="4178"/>
        </pc:sldMkLst>
        <pc:picChg chg="add del mod">
          <ac:chgData name="Michael E" userId="5cf36b76a1ed2b08" providerId="LiveId" clId="{922E345A-6BE9-451C-B3A2-7918652E0B1A}" dt="2021-07-12T06:48:10.594" v="556" actId="21"/>
          <ac:picMkLst>
            <pc:docMk/>
            <pc:sldMk cId="2599480837" sldId="4178"/>
            <ac:picMk id="5" creationId="{F18AFABA-B8A8-4679-BC02-F0D66444F57A}"/>
          </ac:picMkLst>
        </pc:picChg>
        <pc:picChg chg="add del mod">
          <ac:chgData name="Michael E" userId="5cf36b76a1ed2b08" providerId="LiveId" clId="{922E345A-6BE9-451C-B3A2-7918652E0B1A}" dt="2021-07-12T03:50:38.377" v="9" actId="21"/>
          <ac:picMkLst>
            <pc:docMk/>
            <pc:sldMk cId="2599480837" sldId="4178"/>
            <ac:picMk id="25" creationId="{4EA0B55D-3F2F-44E1-8702-9D198C469FFC}"/>
          </ac:picMkLst>
        </pc:picChg>
        <pc:picChg chg="add del mod">
          <ac:chgData name="Michael E" userId="5cf36b76a1ed2b08" providerId="LiveId" clId="{922E345A-6BE9-451C-B3A2-7918652E0B1A}" dt="2021-07-12T03:50:42.925" v="11" actId="21"/>
          <ac:picMkLst>
            <pc:docMk/>
            <pc:sldMk cId="2599480837" sldId="4178"/>
            <ac:picMk id="26" creationId="{7AF738C9-89FD-4B02-88EB-AE23647CE248}"/>
          </ac:picMkLst>
        </pc:picChg>
        <pc:picChg chg="add del mod">
          <ac:chgData name="Michael E" userId="5cf36b76a1ed2b08" providerId="LiveId" clId="{922E345A-6BE9-451C-B3A2-7918652E0B1A}" dt="2021-07-12T03:50:43.966" v="13" actId="21"/>
          <ac:picMkLst>
            <pc:docMk/>
            <pc:sldMk cId="2599480837" sldId="4178"/>
            <ac:picMk id="27" creationId="{3C0893B2-2A30-4517-9144-C378D4A55A76}"/>
          </ac:picMkLst>
        </pc:picChg>
        <pc:picChg chg="add del mod">
          <ac:chgData name="Michael E" userId="5cf36b76a1ed2b08" providerId="LiveId" clId="{922E345A-6BE9-451C-B3A2-7918652E0B1A}" dt="2021-07-12T06:48:12.874" v="558" actId="21"/>
          <ac:picMkLst>
            <pc:docMk/>
            <pc:sldMk cId="2599480837" sldId="4178"/>
            <ac:picMk id="27" creationId="{C1B00E85-716E-4C69-B60D-A8A730D548BE}"/>
          </ac:picMkLst>
        </pc:picChg>
        <pc:picChg chg="add del mod">
          <ac:chgData name="Michael E" userId="5cf36b76a1ed2b08" providerId="LiveId" clId="{922E345A-6BE9-451C-B3A2-7918652E0B1A}" dt="2021-07-12T03:51:09.416" v="18" actId="21"/>
          <ac:picMkLst>
            <pc:docMk/>
            <pc:sldMk cId="2599480837" sldId="4178"/>
            <ac:picMk id="37" creationId="{B546E140-7327-4465-A467-3C87DCBD4F9B}"/>
          </ac:picMkLst>
        </pc:picChg>
        <pc:picChg chg="add del mod">
          <ac:chgData name="Michael E" userId="5cf36b76a1ed2b08" providerId="LiveId" clId="{922E345A-6BE9-451C-B3A2-7918652E0B1A}" dt="2021-07-12T06:48:13.796" v="560" actId="21"/>
          <ac:picMkLst>
            <pc:docMk/>
            <pc:sldMk cId="2599480837" sldId="4178"/>
            <ac:picMk id="37" creationId="{E15BAF68-CC1E-4777-B089-7557BA3D8DBC}"/>
          </ac:picMkLst>
        </pc:picChg>
        <pc:picChg chg="add del mod">
          <ac:chgData name="Michael E" userId="5cf36b76a1ed2b08" providerId="LiveId" clId="{922E345A-6BE9-451C-B3A2-7918652E0B1A}" dt="2021-07-12T03:51:14.698" v="20" actId="21"/>
          <ac:picMkLst>
            <pc:docMk/>
            <pc:sldMk cId="2599480837" sldId="4178"/>
            <ac:picMk id="38" creationId="{354B5F42-6943-47B0-B21F-2AAB5127BC57}"/>
          </ac:picMkLst>
        </pc:picChg>
        <pc:picChg chg="add del mod">
          <ac:chgData name="Michael E" userId="5cf36b76a1ed2b08" providerId="LiveId" clId="{922E345A-6BE9-451C-B3A2-7918652E0B1A}" dt="2021-07-12T06:48:19.674" v="562" actId="21"/>
          <ac:picMkLst>
            <pc:docMk/>
            <pc:sldMk cId="2599480837" sldId="4178"/>
            <ac:picMk id="38" creationId="{EE9DC040-9863-4314-8390-5840ECD3E138}"/>
          </ac:picMkLst>
        </pc:picChg>
        <pc:picChg chg="add del mod">
          <ac:chgData name="Michael E" userId="5cf36b76a1ed2b08" providerId="LiveId" clId="{922E345A-6BE9-451C-B3A2-7918652E0B1A}" dt="2021-07-12T03:51:18.552" v="23" actId="21"/>
          <ac:picMkLst>
            <pc:docMk/>
            <pc:sldMk cId="2599480837" sldId="4178"/>
            <ac:picMk id="39" creationId="{0B04D284-72B0-4598-9248-3D76B29BF709}"/>
          </ac:picMkLst>
        </pc:picChg>
        <pc:picChg chg="add del mod">
          <ac:chgData name="Michael E" userId="5cf36b76a1ed2b08" providerId="LiveId" clId="{922E345A-6BE9-451C-B3A2-7918652E0B1A}" dt="2021-07-12T06:48:21.257" v="564" actId="21"/>
          <ac:picMkLst>
            <pc:docMk/>
            <pc:sldMk cId="2599480837" sldId="4178"/>
            <ac:picMk id="39" creationId="{ECD779D2-A93A-42C6-9464-650BADC445D3}"/>
          </ac:picMkLst>
        </pc:picChg>
        <pc:picChg chg="add del mod">
          <ac:chgData name="Michael E" userId="5cf36b76a1ed2b08" providerId="LiveId" clId="{922E345A-6BE9-451C-B3A2-7918652E0B1A}" dt="2021-07-12T06:48:26.821" v="568" actId="21"/>
          <ac:picMkLst>
            <pc:docMk/>
            <pc:sldMk cId="2599480837" sldId="4178"/>
            <ac:picMk id="40" creationId="{1FAEFD3C-B75E-4C07-81B1-B7AD8240A91F}"/>
          </ac:picMkLst>
        </pc:picChg>
        <pc:picChg chg="add del mod">
          <ac:chgData name="Michael E" userId="5cf36b76a1ed2b08" providerId="LiveId" clId="{922E345A-6BE9-451C-B3A2-7918652E0B1A}" dt="2021-07-12T06:48:30.023" v="570" actId="21"/>
          <ac:picMkLst>
            <pc:docMk/>
            <pc:sldMk cId="2599480837" sldId="4178"/>
            <ac:picMk id="41" creationId="{AE0847AE-5A20-40F5-9044-795C002BE4A2}"/>
          </ac:picMkLst>
        </pc:picChg>
        <pc:picChg chg="add del mod">
          <ac:chgData name="Michael E" userId="5cf36b76a1ed2b08" providerId="LiveId" clId="{922E345A-6BE9-451C-B3A2-7918652E0B1A}" dt="2021-07-12T06:48:30.923" v="572" actId="21"/>
          <ac:picMkLst>
            <pc:docMk/>
            <pc:sldMk cId="2599480837" sldId="4178"/>
            <ac:picMk id="42" creationId="{F3C8AD23-8A82-40B7-AACE-3778CA62F83C}"/>
          </ac:picMkLst>
        </pc:picChg>
        <pc:picChg chg="add del mod">
          <ac:chgData name="Michael E" userId="5cf36b76a1ed2b08" providerId="LiveId" clId="{922E345A-6BE9-451C-B3A2-7918652E0B1A}" dt="2021-07-12T06:48:31.821" v="574" actId="21"/>
          <ac:picMkLst>
            <pc:docMk/>
            <pc:sldMk cId="2599480837" sldId="4178"/>
            <ac:picMk id="43" creationId="{66967E11-8A32-44EA-86E9-395ADD709CC4}"/>
          </ac:picMkLst>
        </pc:picChg>
        <pc:picChg chg="add del mod">
          <ac:chgData name="Michael E" userId="5cf36b76a1ed2b08" providerId="LiveId" clId="{922E345A-6BE9-451C-B3A2-7918652E0B1A}" dt="2021-07-12T06:48:35.233" v="578" actId="21"/>
          <ac:picMkLst>
            <pc:docMk/>
            <pc:sldMk cId="2599480837" sldId="4178"/>
            <ac:picMk id="44" creationId="{162795D3-F71A-44C2-8020-CCCC7A3F3B38}"/>
          </ac:picMkLst>
        </pc:picChg>
        <pc:picChg chg="add del mod">
          <ac:chgData name="Michael E" userId="5cf36b76a1ed2b08" providerId="LiveId" clId="{922E345A-6BE9-451C-B3A2-7918652E0B1A}" dt="2021-07-12T06:48:36.596" v="580" actId="21"/>
          <ac:picMkLst>
            <pc:docMk/>
            <pc:sldMk cId="2599480837" sldId="4178"/>
            <ac:picMk id="45" creationId="{676BB5B9-E771-4AD3-A3EC-41607C68156B}"/>
          </ac:picMkLst>
        </pc:picChg>
        <pc:picChg chg="add del mod">
          <ac:chgData name="Michael E" userId="5cf36b76a1ed2b08" providerId="LiveId" clId="{922E345A-6BE9-451C-B3A2-7918652E0B1A}" dt="2021-07-12T06:48:37.334" v="582" actId="21"/>
          <ac:picMkLst>
            <pc:docMk/>
            <pc:sldMk cId="2599480837" sldId="4178"/>
            <ac:picMk id="46" creationId="{DAC7E4C1-8D28-4918-B79B-E2395E758AD6}"/>
          </ac:picMkLst>
        </pc:picChg>
        <pc:picChg chg="add mod ord">
          <ac:chgData name="Michael E" userId="5cf36b76a1ed2b08" providerId="LiveId" clId="{922E345A-6BE9-451C-B3A2-7918652E0B1A}" dt="2021-07-12T06:48:42.839" v="584" actId="167"/>
          <ac:picMkLst>
            <pc:docMk/>
            <pc:sldMk cId="2599480837" sldId="4178"/>
            <ac:picMk id="47" creationId="{366CFA56-E3C9-436A-A6CB-30C386F3CC98}"/>
          </ac:picMkLst>
        </pc:picChg>
        <pc:picChg chg="del">
          <ac:chgData name="Michael E" userId="5cf36b76a1ed2b08" providerId="LiveId" clId="{922E345A-6BE9-451C-B3A2-7918652E0B1A}" dt="2021-07-12T06:48:45.350" v="585" actId="478"/>
          <ac:picMkLst>
            <pc:docMk/>
            <pc:sldMk cId="2599480837" sldId="4178"/>
            <ac:picMk id="72" creationId="{42CD8ADF-785E-46B7-A56B-92609A4078E8}"/>
          </ac:picMkLst>
        </pc:picChg>
      </pc:sldChg>
      <pc:sldChg chg="addSp delSp modSp mod addAnim delAnim modAnim">
        <pc:chgData name="Michael E" userId="5cf36b76a1ed2b08" providerId="LiveId" clId="{922E345A-6BE9-451C-B3A2-7918652E0B1A}" dt="2021-07-12T08:03:09.114" v="1014" actId="166"/>
        <pc:sldMkLst>
          <pc:docMk/>
          <pc:sldMk cId="2155324364" sldId="4179"/>
        </pc:sldMkLst>
        <pc:spChg chg="mod topLvl">
          <ac:chgData name="Michael E" userId="5cf36b76a1ed2b08" providerId="LiveId" clId="{922E345A-6BE9-451C-B3A2-7918652E0B1A}" dt="2021-07-12T06:56:37.512" v="653" actId="164"/>
          <ac:spMkLst>
            <pc:docMk/>
            <pc:sldMk cId="2155324364" sldId="4179"/>
            <ac:spMk id="18" creationId="{5EF39464-E8CF-4618-8ABB-0A449FEA8318}"/>
          </ac:spMkLst>
        </pc:spChg>
        <pc:spChg chg="ord">
          <ac:chgData name="Michael E" userId="5cf36b76a1ed2b08" providerId="LiveId" clId="{922E345A-6BE9-451C-B3A2-7918652E0B1A}" dt="2021-07-12T08:03:09.114" v="1014" actId="166"/>
          <ac:spMkLst>
            <pc:docMk/>
            <pc:sldMk cId="2155324364" sldId="4179"/>
            <ac:spMk id="19" creationId="{8AEEA487-EE24-4059-956D-E878CF0D8247}"/>
          </ac:spMkLst>
        </pc:spChg>
        <pc:grpChg chg="add del mod ord">
          <ac:chgData name="Michael E" userId="5cf36b76a1ed2b08" providerId="LiveId" clId="{922E345A-6BE9-451C-B3A2-7918652E0B1A}" dt="2021-07-12T08:03:02.329" v="1013" actId="166"/>
          <ac:grpSpMkLst>
            <pc:docMk/>
            <pc:sldMk cId="2155324364" sldId="4179"/>
            <ac:grpSpMk id="9" creationId="{FE651065-E987-419E-9F07-40081D3FE4CA}"/>
          </ac:grpSpMkLst>
        </pc:grpChg>
        <pc:grpChg chg="add del ord">
          <ac:chgData name="Michael E" userId="5cf36b76a1ed2b08" providerId="LiveId" clId="{922E345A-6BE9-451C-B3A2-7918652E0B1A}" dt="2021-07-12T06:56:18.669" v="651" actId="478"/>
          <ac:grpSpMkLst>
            <pc:docMk/>
            <pc:sldMk cId="2155324364" sldId="4179"/>
            <ac:grpSpMk id="36" creationId="{AE2CD6A5-51A2-4764-ABD9-1610F1B33236}"/>
          </ac:grpSpMkLst>
        </pc:grpChg>
        <pc:picChg chg="add del">
          <ac:chgData name="Michael E" userId="5cf36b76a1ed2b08" providerId="LiveId" clId="{922E345A-6BE9-451C-B3A2-7918652E0B1A}" dt="2021-07-12T06:50:49.090" v="588" actId="22"/>
          <ac:picMkLst>
            <pc:docMk/>
            <pc:sldMk cId="2155324364" sldId="4179"/>
            <ac:picMk id="4" creationId="{C589DFDA-A686-42F8-92F5-FB0066FA8F27}"/>
          </ac:picMkLst>
        </pc:picChg>
        <pc:picChg chg="add del mod">
          <ac:chgData name="Michael E" userId="5cf36b76a1ed2b08" providerId="LiveId" clId="{922E345A-6BE9-451C-B3A2-7918652E0B1A}" dt="2021-07-12T06:52:06.198" v="604" actId="21"/>
          <ac:picMkLst>
            <pc:docMk/>
            <pc:sldMk cId="2155324364" sldId="4179"/>
            <ac:picMk id="6" creationId="{CF754154-0DC2-499A-94BC-28A9ADC8B886}"/>
          </ac:picMkLst>
        </pc:picChg>
        <pc:picChg chg="add del mod">
          <ac:chgData name="Michael E" userId="5cf36b76a1ed2b08" providerId="LiveId" clId="{922E345A-6BE9-451C-B3A2-7918652E0B1A}" dt="2021-07-12T06:54:48.993" v="621" actId="21"/>
          <ac:picMkLst>
            <pc:docMk/>
            <pc:sldMk cId="2155324364" sldId="4179"/>
            <ac:picMk id="8" creationId="{46363336-FD16-4889-9506-CC682347D240}"/>
          </ac:picMkLst>
        </pc:picChg>
        <pc:picChg chg="add del mod">
          <ac:chgData name="Michael E" userId="5cf36b76a1ed2b08" providerId="LiveId" clId="{922E345A-6BE9-451C-B3A2-7918652E0B1A}" dt="2021-07-12T03:51:35.549" v="28" actId="21"/>
          <ac:picMkLst>
            <pc:docMk/>
            <pc:sldMk cId="2155324364" sldId="4179"/>
            <ac:picMk id="24" creationId="{79A1A787-CA09-42B7-A59E-9E3D8A472F3B}"/>
          </ac:picMkLst>
        </pc:picChg>
        <pc:picChg chg="del">
          <ac:chgData name="Michael E" userId="5cf36b76a1ed2b08" providerId="LiveId" clId="{922E345A-6BE9-451C-B3A2-7918652E0B1A}" dt="2021-07-12T06:52:30.056" v="617" actId="478"/>
          <ac:picMkLst>
            <pc:docMk/>
            <pc:sldMk cId="2155324364" sldId="4179"/>
            <ac:picMk id="25" creationId="{AFFF0711-CB7A-4388-AFE0-04209DBEB3B7}"/>
          </ac:picMkLst>
        </pc:picChg>
        <pc:picChg chg="add del mod">
          <ac:chgData name="Michael E" userId="5cf36b76a1ed2b08" providerId="LiveId" clId="{922E345A-6BE9-451C-B3A2-7918652E0B1A}" dt="2021-07-12T03:51:39.854" v="30" actId="21"/>
          <ac:picMkLst>
            <pc:docMk/>
            <pc:sldMk cId="2155324364" sldId="4179"/>
            <ac:picMk id="30" creationId="{C3DC0911-1E5C-450C-87DE-80621B6CA669}"/>
          </ac:picMkLst>
        </pc:picChg>
        <pc:picChg chg="add del mod">
          <ac:chgData name="Michael E" userId="5cf36b76a1ed2b08" providerId="LiveId" clId="{922E345A-6BE9-451C-B3A2-7918652E0B1A}" dt="2021-07-12T06:52:07.207" v="606" actId="21"/>
          <ac:picMkLst>
            <pc:docMk/>
            <pc:sldMk cId="2155324364" sldId="4179"/>
            <ac:picMk id="30" creationId="{E3DE9B03-1ACA-412C-BA83-4D56EFB70E80}"/>
          </ac:picMkLst>
        </pc:picChg>
        <pc:picChg chg="add del mod">
          <ac:chgData name="Michael E" userId="5cf36b76a1ed2b08" providerId="LiveId" clId="{922E345A-6BE9-451C-B3A2-7918652E0B1A}" dt="2021-07-12T03:51:41.503" v="32" actId="21"/>
          <ac:picMkLst>
            <pc:docMk/>
            <pc:sldMk cId="2155324364" sldId="4179"/>
            <ac:picMk id="31" creationId="{862C7561-7D7C-4C98-8A04-5D3630F5F344}"/>
          </ac:picMkLst>
        </pc:picChg>
        <pc:picChg chg="add del mod">
          <ac:chgData name="Michael E" userId="5cf36b76a1ed2b08" providerId="LiveId" clId="{922E345A-6BE9-451C-B3A2-7918652E0B1A}" dt="2021-07-12T06:52:11.428" v="610" actId="21"/>
          <ac:picMkLst>
            <pc:docMk/>
            <pc:sldMk cId="2155324364" sldId="4179"/>
            <ac:picMk id="31" creationId="{DF0118F8-0327-454C-90EB-8D57EFB702E4}"/>
          </ac:picMkLst>
        </pc:picChg>
        <pc:picChg chg="add del mod">
          <ac:chgData name="Michael E" userId="5cf36b76a1ed2b08" providerId="LiveId" clId="{922E345A-6BE9-451C-B3A2-7918652E0B1A}" dt="2021-07-12T03:51:43.298" v="34" actId="21"/>
          <ac:picMkLst>
            <pc:docMk/>
            <pc:sldMk cId="2155324364" sldId="4179"/>
            <ac:picMk id="32" creationId="{2DD680F2-F438-4F1F-B71A-A9738B77AEF0}"/>
          </ac:picMkLst>
        </pc:picChg>
        <pc:picChg chg="add del mod">
          <ac:chgData name="Michael E" userId="5cf36b76a1ed2b08" providerId="LiveId" clId="{922E345A-6BE9-451C-B3A2-7918652E0B1A}" dt="2021-07-12T06:52:15.724" v="612" actId="21"/>
          <ac:picMkLst>
            <pc:docMk/>
            <pc:sldMk cId="2155324364" sldId="4179"/>
            <ac:picMk id="32" creationId="{B6500E5D-9B01-4F84-9E0A-0E6F20996D5F}"/>
          </ac:picMkLst>
        </pc:picChg>
        <pc:picChg chg="add del mod">
          <ac:chgData name="Michael E" userId="5cf36b76a1ed2b08" providerId="LiveId" clId="{922E345A-6BE9-451C-B3A2-7918652E0B1A}" dt="2021-07-12T06:52:17.788" v="614" actId="21"/>
          <ac:picMkLst>
            <pc:docMk/>
            <pc:sldMk cId="2155324364" sldId="4179"/>
            <ac:picMk id="33" creationId="{316F687C-22CE-481C-B943-B2F735CE3C0B}"/>
          </ac:picMkLst>
        </pc:picChg>
        <pc:picChg chg="add mod ord">
          <ac:chgData name="Michael E" userId="5cf36b76a1ed2b08" providerId="LiveId" clId="{922E345A-6BE9-451C-B3A2-7918652E0B1A}" dt="2021-07-12T06:56:27.308" v="652" actId="167"/>
          <ac:picMkLst>
            <pc:docMk/>
            <pc:sldMk cId="2155324364" sldId="4179"/>
            <ac:picMk id="34" creationId="{E45141B8-DD86-440D-9139-939C62CD4F3A}"/>
          </ac:picMkLst>
        </pc:picChg>
        <pc:picChg chg="del topLvl">
          <ac:chgData name="Michael E" userId="5cf36b76a1ed2b08" providerId="LiveId" clId="{922E345A-6BE9-451C-B3A2-7918652E0B1A}" dt="2021-07-12T06:56:18.669" v="651" actId="478"/>
          <ac:picMkLst>
            <pc:docMk/>
            <pc:sldMk cId="2155324364" sldId="4179"/>
            <ac:picMk id="35" creationId="{3EE88F74-7E79-4DC2-BE80-0B9051B07EFD}"/>
          </ac:picMkLst>
        </pc:picChg>
        <pc:picChg chg="add del mod">
          <ac:chgData name="Michael E" userId="5cf36b76a1ed2b08" providerId="LiveId" clId="{922E345A-6BE9-451C-B3A2-7918652E0B1A}" dt="2021-07-12T06:54:50.031" v="623" actId="21"/>
          <ac:picMkLst>
            <pc:docMk/>
            <pc:sldMk cId="2155324364" sldId="4179"/>
            <ac:picMk id="37" creationId="{83325FB1-E320-48F6-B859-6F41FAA0670B}"/>
          </ac:picMkLst>
        </pc:picChg>
        <pc:picChg chg="add del mod">
          <ac:chgData name="Michael E" userId="5cf36b76a1ed2b08" providerId="LiveId" clId="{922E345A-6BE9-451C-B3A2-7918652E0B1A}" dt="2021-07-12T06:54:54.157" v="625" actId="21"/>
          <ac:picMkLst>
            <pc:docMk/>
            <pc:sldMk cId="2155324364" sldId="4179"/>
            <ac:picMk id="38" creationId="{DA5AC346-5879-48C4-8E95-1BDF89C8AAD8}"/>
          </ac:picMkLst>
        </pc:picChg>
        <pc:picChg chg="add del mod">
          <ac:chgData name="Michael E" userId="5cf36b76a1ed2b08" providerId="LiveId" clId="{922E345A-6BE9-451C-B3A2-7918652E0B1A}" dt="2021-07-12T06:54:58.621" v="627" actId="21"/>
          <ac:picMkLst>
            <pc:docMk/>
            <pc:sldMk cId="2155324364" sldId="4179"/>
            <ac:picMk id="48" creationId="{395C5290-EDA0-480B-99E9-71C66F3C4516}"/>
          </ac:picMkLst>
        </pc:picChg>
        <pc:picChg chg="add del mod">
          <ac:chgData name="Michael E" userId="5cf36b76a1ed2b08" providerId="LiveId" clId="{922E345A-6BE9-451C-B3A2-7918652E0B1A}" dt="2021-07-12T06:55:01.949" v="629" actId="21"/>
          <ac:picMkLst>
            <pc:docMk/>
            <pc:sldMk cId="2155324364" sldId="4179"/>
            <ac:picMk id="49" creationId="{472CB944-ED46-45E1-9004-AE40D70D5499}"/>
          </ac:picMkLst>
        </pc:picChg>
        <pc:picChg chg="add del mod">
          <ac:chgData name="Michael E" userId="5cf36b76a1ed2b08" providerId="LiveId" clId="{922E345A-6BE9-451C-B3A2-7918652E0B1A}" dt="2021-07-12T06:55:07.882" v="632" actId="21"/>
          <ac:picMkLst>
            <pc:docMk/>
            <pc:sldMk cId="2155324364" sldId="4179"/>
            <ac:picMk id="50" creationId="{F4F5908D-DEB6-401C-B409-B7146BAFB998}"/>
          </ac:picMkLst>
        </pc:picChg>
        <pc:picChg chg="add del mod">
          <ac:chgData name="Michael E" userId="5cf36b76a1ed2b08" providerId="LiveId" clId="{922E345A-6BE9-451C-B3A2-7918652E0B1A}" dt="2021-07-12T06:55:09.768" v="634" actId="21"/>
          <ac:picMkLst>
            <pc:docMk/>
            <pc:sldMk cId="2155324364" sldId="4179"/>
            <ac:picMk id="51" creationId="{C292A1CF-6710-4B5B-B717-DB609C2F022C}"/>
          </ac:picMkLst>
        </pc:picChg>
        <pc:picChg chg="add del mod">
          <ac:chgData name="Michael E" userId="5cf36b76a1ed2b08" providerId="LiveId" clId="{922E345A-6BE9-451C-B3A2-7918652E0B1A}" dt="2021-07-12T06:55:13.099" v="637" actId="21"/>
          <ac:picMkLst>
            <pc:docMk/>
            <pc:sldMk cId="2155324364" sldId="4179"/>
            <ac:picMk id="52" creationId="{0D4F3346-520A-4CC5-A5A1-8C0475EDF25F}"/>
          </ac:picMkLst>
        </pc:picChg>
        <pc:picChg chg="add del mod">
          <ac:chgData name="Michael E" userId="5cf36b76a1ed2b08" providerId="LiveId" clId="{922E345A-6BE9-451C-B3A2-7918652E0B1A}" dt="2021-07-12T06:55:14.716" v="639" actId="21"/>
          <ac:picMkLst>
            <pc:docMk/>
            <pc:sldMk cId="2155324364" sldId="4179"/>
            <ac:picMk id="53" creationId="{CAAAE47E-046F-4DAC-B947-C6AD5FE22950}"/>
          </ac:picMkLst>
        </pc:picChg>
        <pc:picChg chg="add del mod">
          <ac:chgData name="Michael E" userId="5cf36b76a1ed2b08" providerId="LiveId" clId="{922E345A-6BE9-451C-B3A2-7918652E0B1A}" dt="2021-07-12T06:55:18.638" v="642" actId="21"/>
          <ac:picMkLst>
            <pc:docMk/>
            <pc:sldMk cId="2155324364" sldId="4179"/>
            <ac:picMk id="54" creationId="{4658695F-131C-444F-8B90-BE4761CB56B9}"/>
          </ac:picMkLst>
        </pc:picChg>
        <pc:picChg chg="add del mod">
          <ac:chgData name="Michael E" userId="5cf36b76a1ed2b08" providerId="LiveId" clId="{922E345A-6BE9-451C-B3A2-7918652E0B1A}" dt="2021-07-12T06:55:21.797" v="644" actId="21"/>
          <ac:picMkLst>
            <pc:docMk/>
            <pc:sldMk cId="2155324364" sldId="4179"/>
            <ac:picMk id="55" creationId="{EDBF5F89-BF0C-4B3E-9EE7-DF0E46498634}"/>
          </ac:picMkLst>
        </pc:picChg>
        <pc:picChg chg="add mod ord">
          <ac:chgData name="Michael E" userId="5cf36b76a1ed2b08" providerId="LiveId" clId="{922E345A-6BE9-451C-B3A2-7918652E0B1A}" dt="2021-07-12T06:58:11.436" v="668" actId="1036"/>
          <ac:picMkLst>
            <pc:docMk/>
            <pc:sldMk cId="2155324364" sldId="4179"/>
            <ac:picMk id="56" creationId="{C3CD27C3-1550-43B2-A108-54ED3F2B56BE}"/>
          </ac:picMkLst>
        </pc:picChg>
      </pc:sldChg>
      <pc:sldChg chg="addSp delSp modSp mod">
        <pc:chgData name="Michael E" userId="5cf36b76a1ed2b08" providerId="LiveId" clId="{922E345A-6BE9-451C-B3A2-7918652E0B1A}" dt="2021-07-12T07:09:15.778" v="707" actId="478"/>
        <pc:sldMkLst>
          <pc:docMk/>
          <pc:sldMk cId="2402903866" sldId="4180"/>
        </pc:sldMkLst>
        <pc:picChg chg="add del mod ord">
          <ac:chgData name="Michael E" userId="5cf36b76a1ed2b08" providerId="LiveId" clId="{922E345A-6BE9-451C-B3A2-7918652E0B1A}" dt="2021-07-12T07:08:23.320" v="674" actId="21"/>
          <ac:picMkLst>
            <pc:docMk/>
            <pc:sldMk cId="2402903866" sldId="4180"/>
            <ac:picMk id="4" creationId="{D6C0308B-60EB-462F-BBF4-974685D931EC}"/>
          </ac:picMkLst>
        </pc:picChg>
        <pc:picChg chg="add del mod">
          <ac:chgData name="Michael E" userId="5cf36b76a1ed2b08" providerId="LiveId" clId="{922E345A-6BE9-451C-B3A2-7918652E0B1A}" dt="2021-07-12T07:08:25.739" v="676" actId="21"/>
          <ac:picMkLst>
            <pc:docMk/>
            <pc:sldMk cId="2402903866" sldId="4180"/>
            <ac:picMk id="28" creationId="{A7E459F4-AC5E-4C1F-A564-210A0F62FDC1}"/>
          </ac:picMkLst>
        </pc:picChg>
        <pc:picChg chg="add del mod">
          <ac:chgData name="Michael E" userId="5cf36b76a1ed2b08" providerId="LiveId" clId="{922E345A-6BE9-451C-B3A2-7918652E0B1A}" dt="2021-07-12T07:08:27.549" v="678" actId="21"/>
          <ac:picMkLst>
            <pc:docMk/>
            <pc:sldMk cId="2402903866" sldId="4180"/>
            <ac:picMk id="29" creationId="{E61633B9-260F-4345-BA48-F0BE46A9D406}"/>
          </ac:picMkLst>
        </pc:picChg>
        <pc:picChg chg="add del mod">
          <ac:chgData name="Michael E" userId="5cf36b76a1ed2b08" providerId="LiveId" clId="{922E345A-6BE9-451C-B3A2-7918652E0B1A}" dt="2021-07-12T07:08:32.214" v="682" actId="21"/>
          <ac:picMkLst>
            <pc:docMk/>
            <pc:sldMk cId="2402903866" sldId="4180"/>
            <ac:picMk id="30" creationId="{8674FF5A-F33F-476A-B9F9-52F4BD302EE8}"/>
          </ac:picMkLst>
        </pc:picChg>
        <pc:picChg chg="add del mod">
          <ac:chgData name="Michael E" userId="5cf36b76a1ed2b08" providerId="LiveId" clId="{922E345A-6BE9-451C-B3A2-7918652E0B1A}" dt="2021-07-12T07:08:33.284" v="684" actId="21"/>
          <ac:picMkLst>
            <pc:docMk/>
            <pc:sldMk cId="2402903866" sldId="4180"/>
            <ac:picMk id="31" creationId="{13D13264-BC5E-47C9-9916-90654CC76293}"/>
          </ac:picMkLst>
        </pc:picChg>
        <pc:picChg chg="del">
          <ac:chgData name="Michael E" userId="5cf36b76a1ed2b08" providerId="LiveId" clId="{922E345A-6BE9-451C-B3A2-7918652E0B1A}" dt="2021-07-12T07:09:15.778" v="707" actId="478"/>
          <ac:picMkLst>
            <pc:docMk/>
            <pc:sldMk cId="2402903866" sldId="4180"/>
            <ac:picMk id="34" creationId="{1C432647-55CE-4F4D-A968-B46B67BBDD53}"/>
          </ac:picMkLst>
        </pc:picChg>
        <pc:picChg chg="add del mod">
          <ac:chgData name="Michael E" userId="5cf36b76a1ed2b08" providerId="LiveId" clId="{922E345A-6BE9-451C-B3A2-7918652E0B1A}" dt="2021-07-12T07:08:34.450" v="686" actId="21"/>
          <ac:picMkLst>
            <pc:docMk/>
            <pc:sldMk cId="2402903866" sldId="4180"/>
            <ac:picMk id="42" creationId="{89FB3466-5137-4786-B828-1D3E2E63D436}"/>
          </ac:picMkLst>
        </pc:picChg>
        <pc:picChg chg="add del mod">
          <ac:chgData name="Michael E" userId="5cf36b76a1ed2b08" providerId="LiveId" clId="{922E345A-6BE9-451C-B3A2-7918652E0B1A}" dt="2021-07-12T07:08:36.487" v="688" actId="21"/>
          <ac:picMkLst>
            <pc:docMk/>
            <pc:sldMk cId="2402903866" sldId="4180"/>
            <ac:picMk id="43" creationId="{0DC0B46F-57D3-44DF-8347-A5286BA24C63}"/>
          </ac:picMkLst>
        </pc:picChg>
        <pc:picChg chg="add del mod">
          <ac:chgData name="Michael E" userId="5cf36b76a1ed2b08" providerId="LiveId" clId="{922E345A-6BE9-451C-B3A2-7918652E0B1A}" dt="2021-07-12T07:08:44.794" v="690" actId="21"/>
          <ac:picMkLst>
            <pc:docMk/>
            <pc:sldMk cId="2402903866" sldId="4180"/>
            <ac:picMk id="44" creationId="{8AD9670A-29DF-4B72-8D88-68BB336D7F09}"/>
          </ac:picMkLst>
        </pc:picChg>
        <pc:picChg chg="add del mod">
          <ac:chgData name="Michael E" userId="5cf36b76a1ed2b08" providerId="LiveId" clId="{922E345A-6BE9-451C-B3A2-7918652E0B1A}" dt="2021-07-12T07:08:49.554" v="693" actId="21"/>
          <ac:picMkLst>
            <pc:docMk/>
            <pc:sldMk cId="2402903866" sldId="4180"/>
            <ac:picMk id="45" creationId="{D92A592B-0962-413C-9C19-373C46B64246}"/>
          </ac:picMkLst>
        </pc:picChg>
        <pc:picChg chg="add del mod">
          <ac:chgData name="Michael E" userId="5cf36b76a1ed2b08" providerId="LiveId" clId="{922E345A-6BE9-451C-B3A2-7918652E0B1A}" dt="2021-07-12T07:08:50.909" v="695" actId="21"/>
          <ac:picMkLst>
            <pc:docMk/>
            <pc:sldMk cId="2402903866" sldId="4180"/>
            <ac:picMk id="46" creationId="{D5FBEBF0-56CF-4FFE-A358-3A857A33882A}"/>
          </ac:picMkLst>
        </pc:picChg>
        <pc:picChg chg="add del mod">
          <ac:chgData name="Michael E" userId="5cf36b76a1ed2b08" providerId="LiveId" clId="{922E345A-6BE9-451C-B3A2-7918652E0B1A}" dt="2021-07-12T07:08:55.567" v="698" actId="21"/>
          <ac:picMkLst>
            <pc:docMk/>
            <pc:sldMk cId="2402903866" sldId="4180"/>
            <ac:picMk id="47" creationId="{F455EA16-A084-4C15-8672-7C2A56AF4C64}"/>
          </ac:picMkLst>
        </pc:picChg>
        <pc:picChg chg="add del mod">
          <ac:chgData name="Michael E" userId="5cf36b76a1ed2b08" providerId="LiveId" clId="{922E345A-6BE9-451C-B3A2-7918652E0B1A}" dt="2021-07-12T07:08:57.016" v="700" actId="21"/>
          <ac:picMkLst>
            <pc:docMk/>
            <pc:sldMk cId="2402903866" sldId="4180"/>
            <ac:picMk id="48" creationId="{88F41A11-D403-4FD9-80F5-C2358F4D521A}"/>
          </ac:picMkLst>
        </pc:picChg>
        <pc:picChg chg="add del mod">
          <ac:chgData name="Michael E" userId="5cf36b76a1ed2b08" providerId="LiveId" clId="{922E345A-6BE9-451C-B3A2-7918652E0B1A}" dt="2021-07-12T07:08:59.343" v="702" actId="21"/>
          <ac:picMkLst>
            <pc:docMk/>
            <pc:sldMk cId="2402903866" sldId="4180"/>
            <ac:picMk id="49" creationId="{74406BE2-B5C1-4EF5-BFAB-F84140F2C94C}"/>
          </ac:picMkLst>
        </pc:picChg>
        <pc:picChg chg="add del mod">
          <ac:chgData name="Michael E" userId="5cf36b76a1ed2b08" providerId="LiveId" clId="{922E345A-6BE9-451C-B3A2-7918652E0B1A}" dt="2021-07-12T07:09:01.146" v="704" actId="21"/>
          <ac:picMkLst>
            <pc:docMk/>
            <pc:sldMk cId="2402903866" sldId="4180"/>
            <ac:picMk id="50" creationId="{41537920-1F29-49C1-9C28-CE335F772478}"/>
          </ac:picMkLst>
        </pc:picChg>
        <pc:picChg chg="add mod ord">
          <ac:chgData name="Michael E" userId="5cf36b76a1ed2b08" providerId="LiveId" clId="{922E345A-6BE9-451C-B3A2-7918652E0B1A}" dt="2021-07-12T07:09:13.300" v="706" actId="167"/>
          <ac:picMkLst>
            <pc:docMk/>
            <pc:sldMk cId="2402903866" sldId="4180"/>
            <ac:picMk id="51" creationId="{35FBC36B-29A1-46F3-B6E7-EF992A50F434}"/>
          </ac:picMkLst>
        </pc:picChg>
      </pc:sldChg>
      <pc:sldChg chg="addSp delSp modSp mod modAnim">
        <pc:chgData name="Michael E" userId="5cf36b76a1ed2b08" providerId="LiveId" clId="{922E345A-6BE9-451C-B3A2-7918652E0B1A}" dt="2021-07-12T07:18:53.841" v="797"/>
        <pc:sldMkLst>
          <pc:docMk/>
          <pc:sldMk cId="3267293217" sldId="4181"/>
        </pc:sldMkLst>
        <pc:spChg chg="mod topLvl">
          <ac:chgData name="Michael E" userId="5cf36b76a1ed2b08" providerId="LiveId" clId="{922E345A-6BE9-451C-B3A2-7918652E0B1A}" dt="2021-07-12T07:18:17.643" v="783" actId="164"/>
          <ac:spMkLst>
            <pc:docMk/>
            <pc:sldMk cId="3267293217" sldId="4181"/>
            <ac:spMk id="22" creationId="{0E152F40-6C6A-4686-B120-808662D89AF0}"/>
          </ac:spMkLst>
        </pc:spChg>
        <pc:grpChg chg="del">
          <ac:chgData name="Michael E" userId="5cf36b76a1ed2b08" providerId="LiveId" clId="{922E345A-6BE9-451C-B3A2-7918652E0B1A}" dt="2021-07-12T07:18:04.006" v="781" actId="165"/>
          <ac:grpSpMkLst>
            <pc:docMk/>
            <pc:sldMk cId="3267293217" sldId="4181"/>
            <ac:grpSpMk id="5" creationId="{ED8164D1-21B7-4489-AAC4-C91E1C87E06F}"/>
          </ac:grpSpMkLst>
        </pc:grpChg>
        <pc:grpChg chg="add mod">
          <ac:chgData name="Michael E" userId="5cf36b76a1ed2b08" providerId="LiveId" clId="{922E345A-6BE9-451C-B3A2-7918652E0B1A}" dt="2021-07-12T07:18:17.643" v="783" actId="164"/>
          <ac:grpSpMkLst>
            <pc:docMk/>
            <pc:sldMk cId="3267293217" sldId="4181"/>
            <ac:grpSpMk id="10" creationId="{54707384-63E1-4BF0-A419-935F439734B7}"/>
          </ac:grpSpMkLst>
        </pc:grpChg>
        <pc:picChg chg="add del mod">
          <ac:chgData name="Michael E" userId="5cf36b76a1ed2b08" providerId="LiveId" clId="{922E345A-6BE9-451C-B3A2-7918652E0B1A}" dt="2021-07-12T07:13:35.196" v="711" actId="21"/>
          <ac:picMkLst>
            <pc:docMk/>
            <pc:sldMk cId="3267293217" sldId="4181"/>
            <ac:picMk id="4" creationId="{5EE4B67B-E39C-4B1F-A53E-6524DDA76762}"/>
          </ac:picMkLst>
        </pc:picChg>
        <pc:picChg chg="add del mod">
          <ac:chgData name="Michael E" userId="5cf36b76a1ed2b08" providerId="LiveId" clId="{922E345A-6BE9-451C-B3A2-7918652E0B1A}" dt="2021-07-12T07:16:26.022" v="745" actId="478"/>
          <ac:picMkLst>
            <pc:docMk/>
            <pc:sldMk cId="3267293217" sldId="4181"/>
            <ac:picMk id="7" creationId="{92DB1270-790A-49B7-B744-C32BD08FC8D3}"/>
          </ac:picMkLst>
        </pc:picChg>
        <pc:picChg chg="add del mod">
          <ac:chgData name="Michael E" userId="5cf36b76a1ed2b08" providerId="LiveId" clId="{922E345A-6BE9-451C-B3A2-7918652E0B1A}" dt="2021-07-12T07:16:51.748" v="749" actId="21"/>
          <ac:picMkLst>
            <pc:docMk/>
            <pc:sldMk cId="3267293217" sldId="4181"/>
            <ac:picMk id="9" creationId="{BDE666B2-B991-417A-85DC-EEDF643FCB1D}"/>
          </ac:picMkLst>
        </pc:picChg>
        <pc:picChg chg="del">
          <ac:chgData name="Michael E" userId="5cf36b76a1ed2b08" providerId="LiveId" clId="{922E345A-6BE9-451C-B3A2-7918652E0B1A}" dt="2021-07-12T07:14:02.329" v="738" actId="478"/>
          <ac:picMkLst>
            <pc:docMk/>
            <pc:sldMk cId="3267293217" sldId="4181"/>
            <ac:picMk id="13" creationId="{68A9D0B0-3F19-42AF-8FEF-20D3151BE92A}"/>
          </ac:picMkLst>
        </pc:picChg>
        <pc:picChg chg="add del mod">
          <ac:chgData name="Michael E" userId="5cf36b76a1ed2b08" providerId="LiveId" clId="{922E345A-6BE9-451C-B3A2-7918652E0B1A}" dt="2021-07-12T07:13:37.871" v="713" actId="21"/>
          <ac:picMkLst>
            <pc:docMk/>
            <pc:sldMk cId="3267293217" sldId="4181"/>
            <ac:picMk id="25" creationId="{ACB2CB5F-2C64-4F4A-B776-1CE958C0B933}"/>
          </ac:picMkLst>
        </pc:picChg>
        <pc:picChg chg="add del mod">
          <ac:chgData name="Michael E" userId="5cf36b76a1ed2b08" providerId="LiveId" clId="{922E345A-6BE9-451C-B3A2-7918652E0B1A}" dt="2021-07-12T07:13:41.683" v="718" actId="21"/>
          <ac:picMkLst>
            <pc:docMk/>
            <pc:sldMk cId="3267293217" sldId="4181"/>
            <ac:picMk id="26" creationId="{5834B1B8-F44D-418B-8060-F7782E3C66D9}"/>
          </ac:picMkLst>
        </pc:picChg>
        <pc:picChg chg="add del mod">
          <ac:chgData name="Michael E" userId="5cf36b76a1ed2b08" providerId="LiveId" clId="{922E345A-6BE9-451C-B3A2-7918652E0B1A}" dt="2021-07-12T07:13:42.687" v="720" actId="21"/>
          <ac:picMkLst>
            <pc:docMk/>
            <pc:sldMk cId="3267293217" sldId="4181"/>
            <ac:picMk id="27" creationId="{B4AA6E9C-F495-4608-B706-6085C9C67F9D}"/>
          </ac:picMkLst>
        </pc:picChg>
        <pc:picChg chg="add del mod">
          <ac:chgData name="Michael E" userId="5cf36b76a1ed2b08" providerId="LiveId" clId="{922E345A-6BE9-451C-B3A2-7918652E0B1A}" dt="2021-07-12T07:13:46.201" v="724" actId="21"/>
          <ac:picMkLst>
            <pc:docMk/>
            <pc:sldMk cId="3267293217" sldId="4181"/>
            <ac:picMk id="28" creationId="{1ED7C41B-986A-473B-AE18-BB747102BC42}"/>
          </ac:picMkLst>
        </pc:picChg>
        <pc:picChg chg="add del mod">
          <ac:chgData name="Michael E" userId="5cf36b76a1ed2b08" providerId="LiveId" clId="{922E345A-6BE9-451C-B3A2-7918652E0B1A}" dt="2021-07-12T07:13:47.196" v="726" actId="21"/>
          <ac:picMkLst>
            <pc:docMk/>
            <pc:sldMk cId="3267293217" sldId="4181"/>
            <ac:picMk id="29" creationId="{06C643C3-F434-4E7D-A387-76070422DDB9}"/>
          </ac:picMkLst>
        </pc:picChg>
        <pc:picChg chg="add del mod">
          <ac:chgData name="Michael E" userId="5cf36b76a1ed2b08" providerId="LiveId" clId="{922E345A-6BE9-451C-B3A2-7918652E0B1A}" dt="2021-07-12T07:13:48.821" v="728" actId="21"/>
          <ac:picMkLst>
            <pc:docMk/>
            <pc:sldMk cId="3267293217" sldId="4181"/>
            <ac:picMk id="30" creationId="{8EC1E168-56DF-4973-BB2E-B5862976A7B8}"/>
          </ac:picMkLst>
        </pc:picChg>
        <pc:picChg chg="add del mod">
          <ac:chgData name="Michael E" userId="5cf36b76a1ed2b08" providerId="LiveId" clId="{922E345A-6BE9-451C-B3A2-7918652E0B1A}" dt="2021-07-12T07:13:50.806" v="730" actId="21"/>
          <ac:picMkLst>
            <pc:docMk/>
            <pc:sldMk cId="3267293217" sldId="4181"/>
            <ac:picMk id="31" creationId="{01CD06E8-6B27-4F57-B350-FE9319A17423}"/>
          </ac:picMkLst>
        </pc:picChg>
        <pc:picChg chg="add del mod">
          <ac:chgData name="Michael E" userId="5cf36b76a1ed2b08" providerId="LiveId" clId="{922E345A-6BE9-451C-B3A2-7918652E0B1A}" dt="2021-07-12T07:13:54.075" v="733" actId="21"/>
          <ac:picMkLst>
            <pc:docMk/>
            <pc:sldMk cId="3267293217" sldId="4181"/>
            <ac:picMk id="33" creationId="{E8534ADF-5F1D-4E53-A1FD-F421FFDD7EAE}"/>
          </ac:picMkLst>
        </pc:picChg>
        <pc:picChg chg="add del mod">
          <ac:chgData name="Michael E" userId="5cf36b76a1ed2b08" providerId="LiveId" clId="{922E345A-6BE9-451C-B3A2-7918652E0B1A}" dt="2021-07-12T07:13:55.202" v="735" actId="21"/>
          <ac:picMkLst>
            <pc:docMk/>
            <pc:sldMk cId="3267293217" sldId="4181"/>
            <ac:picMk id="40" creationId="{6AE91CD7-A76C-471A-B4FB-48C3F46F29BC}"/>
          </ac:picMkLst>
        </pc:picChg>
        <pc:picChg chg="add del mod">
          <ac:chgData name="Michael E" userId="5cf36b76a1ed2b08" providerId="LiveId" clId="{922E345A-6BE9-451C-B3A2-7918652E0B1A}" dt="2021-07-12T07:13:58.352" v="737" actId="21"/>
          <ac:picMkLst>
            <pc:docMk/>
            <pc:sldMk cId="3267293217" sldId="4181"/>
            <ac:picMk id="41" creationId="{4BAA8D49-5978-470C-A120-B1FDF04A1F5C}"/>
          </ac:picMkLst>
        </pc:picChg>
        <pc:picChg chg="add mod ord">
          <ac:chgData name="Michael E" userId="5cf36b76a1ed2b08" providerId="LiveId" clId="{922E345A-6BE9-451C-B3A2-7918652E0B1A}" dt="2021-07-12T07:17:27.485" v="780" actId="167"/>
          <ac:picMkLst>
            <pc:docMk/>
            <pc:sldMk cId="3267293217" sldId="4181"/>
            <ac:picMk id="42" creationId="{2E4C6BD6-CF09-4CD3-8CF2-76F130C9AABB}"/>
          </ac:picMkLst>
        </pc:picChg>
        <pc:picChg chg="add del mod">
          <ac:chgData name="Michael E" userId="5cf36b76a1ed2b08" providerId="LiveId" clId="{922E345A-6BE9-451C-B3A2-7918652E0B1A}" dt="2021-07-12T07:16:53.690" v="751" actId="21"/>
          <ac:picMkLst>
            <pc:docMk/>
            <pc:sldMk cId="3267293217" sldId="4181"/>
            <ac:picMk id="43" creationId="{411CAF58-EDB8-4832-9D17-48F3E7B34186}"/>
          </ac:picMkLst>
        </pc:picChg>
        <pc:picChg chg="del mod topLvl">
          <ac:chgData name="Michael E" userId="5cf36b76a1ed2b08" providerId="LiveId" clId="{922E345A-6BE9-451C-B3A2-7918652E0B1A}" dt="2021-07-12T07:18:08.316" v="782" actId="478"/>
          <ac:picMkLst>
            <pc:docMk/>
            <pc:sldMk cId="3267293217" sldId="4181"/>
            <ac:picMk id="44" creationId="{13D89AEE-42D1-488F-A3A0-3E3FA36AB056}"/>
          </ac:picMkLst>
        </pc:picChg>
        <pc:picChg chg="add del mod">
          <ac:chgData name="Michael E" userId="5cf36b76a1ed2b08" providerId="LiveId" clId="{922E345A-6BE9-451C-B3A2-7918652E0B1A}" dt="2021-07-12T07:16:55.579" v="753" actId="21"/>
          <ac:picMkLst>
            <pc:docMk/>
            <pc:sldMk cId="3267293217" sldId="4181"/>
            <ac:picMk id="45" creationId="{010C4181-4E08-47E2-A511-53D611B16288}"/>
          </ac:picMkLst>
        </pc:picChg>
        <pc:picChg chg="add del mod">
          <ac:chgData name="Michael E" userId="5cf36b76a1ed2b08" providerId="LiveId" clId="{922E345A-6BE9-451C-B3A2-7918652E0B1A}" dt="2021-07-12T07:16:59.645" v="760" actId="21"/>
          <ac:picMkLst>
            <pc:docMk/>
            <pc:sldMk cId="3267293217" sldId="4181"/>
            <ac:picMk id="46" creationId="{84240D51-553D-4AF0-AF82-4E5808CFD820}"/>
          </ac:picMkLst>
        </pc:picChg>
        <pc:picChg chg="add del mod">
          <ac:chgData name="Michael E" userId="5cf36b76a1ed2b08" providerId="LiveId" clId="{922E345A-6BE9-451C-B3A2-7918652E0B1A}" dt="2021-07-12T07:17:00.802" v="762" actId="21"/>
          <ac:picMkLst>
            <pc:docMk/>
            <pc:sldMk cId="3267293217" sldId="4181"/>
            <ac:picMk id="47" creationId="{F8BE0887-5DC8-4FF7-BBE0-AE47BAC606F1}"/>
          </ac:picMkLst>
        </pc:picChg>
        <pc:picChg chg="add del mod">
          <ac:chgData name="Michael E" userId="5cf36b76a1ed2b08" providerId="LiveId" clId="{922E345A-6BE9-451C-B3A2-7918652E0B1A}" dt="2021-07-12T07:17:02.752" v="764" actId="21"/>
          <ac:picMkLst>
            <pc:docMk/>
            <pc:sldMk cId="3267293217" sldId="4181"/>
            <ac:picMk id="48" creationId="{A921E6DF-E0CC-4D61-AEE8-E9BBF37D5762}"/>
          </ac:picMkLst>
        </pc:picChg>
        <pc:picChg chg="add del mod">
          <ac:chgData name="Michael E" userId="5cf36b76a1ed2b08" providerId="LiveId" clId="{922E345A-6BE9-451C-B3A2-7918652E0B1A}" dt="2021-07-12T07:17:05.348" v="766" actId="21"/>
          <ac:picMkLst>
            <pc:docMk/>
            <pc:sldMk cId="3267293217" sldId="4181"/>
            <ac:picMk id="49" creationId="{E6F43C06-C2C5-4750-A253-855E42F32D5C}"/>
          </ac:picMkLst>
        </pc:picChg>
        <pc:picChg chg="add del mod">
          <ac:chgData name="Michael E" userId="5cf36b76a1ed2b08" providerId="LiveId" clId="{922E345A-6BE9-451C-B3A2-7918652E0B1A}" dt="2021-07-12T07:17:08.645" v="770" actId="21"/>
          <ac:picMkLst>
            <pc:docMk/>
            <pc:sldMk cId="3267293217" sldId="4181"/>
            <ac:picMk id="50" creationId="{14D78467-E3DC-4D57-B1F0-0194F1C017E7}"/>
          </ac:picMkLst>
        </pc:picChg>
        <pc:picChg chg="add del mod">
          <ac:chgData name="Michael E" userId="5cf36b76a1ed2b08" providerId="LiveId" clId="{922E345A-6BE9-451C-B3A2-7918652E0B1A}" dt="2021-07-12T07:17:09.748" v="772" actId="21"/>
          <ac:picMkLst>
            <pc:docMk/>
            <pc:sldMk cId="3267293217" sldId="4181"/>
            <ac:picMk id="51" creationId="{A73983F1-C206-4AEA-8ABE-ED01E5ABB873}"/>
          </ac:picMkLst>
        </pc:picChg>
        <pc:picChg chg="add del mod">
          <ac:chgData name="Michael E" userId="5cf36b76a1ed2b08" providerId="LiveId" clId="{922E345A-6BE9-451C-B3A2-7918652E0B1A}" dt="2021-07-12T07:17:12.265" v="775" actId="21"/>
          <ac:picMkLst>
            <pc:docMk/>
            <pc:sldMk cId="3267293217" sldId="4181"/>
            <ac:picMk id="52" creationId="{C34CB688-3476-4332-928B-E2EA54157410}"/>
          </ac:picMkLst>
        </pc:picChg>
        <pc:picChg chg="add del mod">
          <ac:chgData name="Michael E" userId="5cf36b76a1ed2b08" providerId="LiveId" clId="{922E345A-6BE9-451C-B3A2-7918652E0B1A}" dt="2021-07-12T07:17:13.402" v="777" actId="21"/>
          <ac:picMkLst>
            <pc:docMk/>
            <pc:sldMk cId="3267293217" sldId="4181"/>
            <ac:picMk id="53" creationId="{F6EF5FF4-0D10-41FD-ADC6-B40D2B2FC65E}"/>
          </ac:picMkLst>
        </pc:picChg>
        <pc:picChg chg="add mod ord">
          <ac:chgData name="Michael E" userId="5cf36b76a1ed2b08" providerId="LiveId" clId="{922E345A-6BE9-451C-B3A2-7918652E0B1A}" dt="2021-07-12T07:18:17.643" v="783" actId="164"/>
          <ac:picMkLst>
            <pc:docMk/>
            <pc:sldMk cId="3267293217" sldId="4181"/>
            <ac:picMk id="54" creationId="{7364787E-8FD3-4011-A7A1-8DA6B2A82917}"/>
          </ac:picMkLst>
        </pc:picChg>
      </pc:sldChg>
      <pc:sldChg chg="addSp delSp modSp mod modAnim">
        <pc:chgData name="Michael E" userId="5cf36b76a1ed2b08" providerId="LiveId" clId="{922E345A-6BE9-451C-B3A2-7918652E0B1A}" dt="2021-07-12T07:42:11.149" v="912" actId="166"/>
        <pc:sldMkLst>
          <pc:docMk/>
          <pc:sldMk cId="2205564651" sldId="4182"/>
        </pc:sldMkLst>
        <pc:spChg chg="ord">
          <ac:chgData name="Michael E" userId="5cf36b76a1ed2b08" providerId="LiveId" clId="{922E345A-6BE9-451C-B3A2-7918652E0B1A}" dt="2021-07-12T07:39:13.964" v="903" actId="167"/>
          <ac:spMkLst>
            <pc:docMk/>
            <pc:sldMk cId="2205564651" sldId="4182"/>
            <ac:spMk id="17" creationId="{CA23A68F-6E8A-433A-86C4-0E31B220BD9B}"/>
          </ac:spMkLst>
        </pc:spChg>
        <pc:spChg chg="ord">
          <ac:chgData name="Michael E" userId="5cf36b76a1ed2b08" providerId="LiveId" clId="{922E345A-6BE9-451C-B3A2-7918652E0B1A}" dt="2021-07-12T07:38:52.564" v="901" actId="167"/>
          <ac:spMkLst>
            <pc:docMk/>
            <pc:sldMk cId="2205564651" sldId="4182"/>
            <ac:spMk id="19" creationId="{5A5A4F76-C14E-45C4-85DB-BF2A34C47223}"/>
          </ac:spMkLst>
        </pc:spChg>
        <pc:spChg chg="ord">
          <ac:chgData name="Michael E" userId="5cf36b76a1ed2b08" providerId="LiveId" clId="{922E345A-6BE9-451C-B3A2-7918652E0B1A}" dt="2021-07-12T07:39:02.842" v="902" actId="167"/>
          <ac:spMkLst>
            <pc:docMk/>
            <pc:sldMk cId="2205564651" sldId="4182"/>
            <ac:spMk id="21" creationId="{55FF5727-5AF4-4697-930B-86126BD0C6B7}"/>
          </ac:spMkLst>
        </pc:spChg>
        <pc:spChg chg="ord">
          <ac:chgData name="Michael E" userId="5cf36b76a1ed2b08" providerId="LiveId" clId="{922E345A-6BE9-451C-B3A2-7918652E0B1A}" dt="2021-07-12T07:38:43.933" v="900" actId="167"/>
          <ac:spMkLst>
            <pc:docMk/>
            <pc:sldMk cId="2205564651" sldId="4182"/>
            <ac:spMk id="23" creationId="{A1D1AF60-F634-4595-87AC-EFFFCFE8802A}"/>
          </ac:spMkLst>
        </pc:spChg>
        <pc:spChg chg="ord">
          <ac:chgData name="Michael E" userId="5cf36b76a1ed2b08" providerId="LiveId" clId="{922E345A-6BE9-451C-B3A2-7918652E0B1A}" dt="2021-07-12T07:42:01.460" v="911" actId="166"/>
          <ac:spMkLst>
            <pc:docMk/>
            <pc:sldMk cId="2205564651" sldId="4182"/>
            <ac:spMk id="25" creationId="{C429BA32-D4B8-4848-8568-B929C1B8162F}"/>
          </ac:spMkLst>
        </pc:spChg>
        <pc:spChg chg="ord">
          <ac:chgData name="Michael E" userId="5cf36b76a1ed2b08" providerId="LiveId" clId="{922E345A-6BE9-451C-B3A2-7918652E0B1A}" dt="2021-07-12T07:42:11.149" v="912" actId="166"/>
          <ac:spMkLst>
            <pc:docMk/>
            <pc:sldMk cId="2205564651" sldId="4182"/>
            <ac:spMk id="27" creationId="{00AF38C7-C39F-4AC8-8988-20E8BE205965}"/>
          </ac:spMkLst>
        </pc:spChg>
        <pc:spChg chg="mod topLvl">
          <ac:chgData name="Michael E" userId="5cf36b76a1ed2b08" providerId="LiveId" clId="{922E345A-6BE9-451C-B3A2-7918652E0B1A}" dt="2021-07-12T07:32:32.460" v="874" actId="164"/>
          <ac:spMkLst>
            <pc:docMk/>
            <pc:sldMk cId="2205564651" sldId="4182"/>
            <ac:spMk id="28" creationId="{142F5C89-772E-468C-B05A-E0E5B4458550}"/>
          </ac:spMkLst>
        </pc:spChg>
        <pc:spChg chg="ord">
          <ac:chgData name="Michael E" userId="5cf36b76a1ed2b08" providerId="LiveId" clId="{922E345A-6BE9-451C-B3A2-7918652E0B1A}" dt="2021-07-12T07:42:01.460" v="911" actId="166"/>
          <ac:spMkLst>
            <pc:docMk/>
            <pc:sldMk cId="2205564651" sldId="4182"/>
            <ac:spMk id="40" creationId="{99660AB0-DDFE-4B9A-B73B-068BD9A13FA6}"/>
          </ac:spMkLst>
        </pc:spChg>
        <pc:grpChg chg="add mod ord">
          <ac:chgData name="Michael E" userId="5cf36b76a1ed2b08" providerId="LiveId" clId="{922E345A-6BE9-451C-B3A2-7918652E0B1A}" dt="2021-07-12T07:42:11.149" v="912" actId="166"/>
          <ac:grpSpMkLst>
            <pc:docMk/>
            <pc:sldMk cId="2205564651" sldId="4182"/>
            <ac:grpSpMk id="8" creationId="{0D649B21-BDB4-4D5C-9AC2-54DAB91197AC}"/>
          </ac:grpSpMkLst>
        </pc:grpChg>
        <pc:grpChg chg="del">
          <ac:chgData name="Michael E" userId="5cf36b76a1ed2b08" providerId="LiveId" clId="{922E345A-6BE9-451C-B3A2-7918652E0B1A}" dt="2021-07-12T07:28:35.759" v="798" actId="165"/>
          <ac:grpSpMkLst>
            <pc:docMk/>
            <pc:sldMk cId="2205564651" sldId="4182"/>
            <ac:grpSpMk id="46" creationId="{2905E307-E1C5-4690-99DE-295B2DC48FD1}"/>
          </ac:grpSpMkLst>
        </pc:grpChg>
        <pc:picChg chg="add del mod ord">
          <ac:chgData name="Michael E" userId="5cf36b76a1ed2b08" providerId="LiveId" clId="{922E345A-6BE9-451C-B3A2-7918652E0B1A}" dt="2021-07-12T07:29:44.209" v="805" actId="21"/>
          <ac:picMkLst>
            <pc:docMk/>
            <pc:sldMk cId="2205564651" sldId="4182"/>
            <ac:picMk id="3" creationId="{DFA388EC-DC57-4A2A-B3D0-C265D4B84188}"/>
          </ac:picMkLst>
        </pc:picChg>
        <pc:picChg chg="add del mod">
          <ac:chgData name="Michael E" userId="5cf36b76a1ed2b08" providerId="LiveId" clId="{922E345A-6BE9-451C-B3A2-7918652E0B1A}" dt="2021-07-12T07:32:01.687" v="863" actId="21"/>
          <ac:picMkLst>
            <pc:docMk/>
            <pc:sldMk cId="2205564651" sldId="4182"/>
            <ac:picMk id="7" creationId="{221C7508-47AD-47D2-AE20-14E714379BA0}"/>
          </ac:picMkLst>
        </pc:picChg>
        <pc:picChg chg="del">
          <ac:chgData name="Michael E" userId="5cf36b76a1ed2b08" providerId="LiveId" clId="{922E345A-6BE9-451C-B3A2-7918652E0B1A}" dt="2021-07-12T07:31:23.076" v="858" actId="478"/>
          <ac:picMkLst>
            <pc:docMk/>
            <pc:sldMk cId="2205564651" sldId="4182"/>
            <ac:picMk id="9" creationId="{6D0273BB-CCAE-4B33-9D32-0E9592107325}"/>
          </ac:picMkLst>
        </pc:picChg>
        <pc:picChg chg="add del mod">
          <ac:chgData name="Michael E" userId="5cf36b76a1ed2b08" providerId="LiveId" clId="{922E345A-6BE9-451C-B3A2-7918652E0B1A}" dt="2021-07-12T07:36:42.903" v="883" actId="21"/>
          <ac:picMkLst>
            <pc:docMk/>
            <pc:sldMk cId="2205564651" sldId="4182"/>
            <ac:picMk id="11" creationId="{63ADD360-584F-48EE-AE88-3DB17D9F7CD2}"/>
          </ac:picMkLst>
        </pc:picChg>
        <pc:picChg chg="add del mod">
          <ac:chgData name="Michael E" userId="5cf36b76a1ed2b08" providerId="LiveId" clId="{922E345A-6BE9-451C-B3A2-7918652E0B1A}" dt="2021-07-12T07:29:46.935" v="807" actId="21"/>
          <ac:picMkLst>
            <pc:docMk/>
            <pc:sldMk cId="2205564651" sldId="4182"/>
            <ac:picMk id="30" creationId="{84B8A412-7CAA-4FB5-AB80-CC83F537AE71}"/>
          </ac:picMkLst>
        </pc:picChg>
        <pc:picChg chg="add del mod">
          <ac:chgData name="Michael E" userId="5cf36b76a1ed2b08" providerId="LiveId" clId="{922E345A-6BE9-451C-B3A2-7918652E0B1A}" dt="2021-07-12T07:29:49.602" v="809" actId="21"/>
          <ac:picMkLst>
            <pc:docMk/>
            <pc:sldMk cId="2205564651" sldId="4182"/>
            <ac:picMk id="31" creationId="{8976D48E-4234-48EC-8DD1-227030B9DEEE}"/>
          </ac:picMkLst>
        </pc:picChg>
        <pc:picChg chg="add del mod">
          <ac:chgData name="Michael E" userId="5cf36b76a1ed2b08" providerId="LiveId" clId="{922E345A-6BE9-451C-B3A2-7918652E0B1A}" dt="2021-07-12T07:29:51.938" v="811" actId="21"/>
          <ac:picMkLst>
            <pc:docMk/>
            <pc:sldMk cId="2205564651" sldId="4182"/>
            <ac:picMk id="32" creationId="{6D926949-1691-4D60-A2A9-F23D61EDB9BC}"/>
          </ac:picMkLst>
        </pc:picChg>
        <pc:picChg chg="add del mod">
          <ac:chgData name="Michael E" userId="5cf36b76a1ed2b08" providerId="LiveId" clId="{922E345A-6BE9-451C-B3A2-7918652E0B1A}" dt="2021-07-12T07:29:54.273" v="813" actId="21"/>
          <ac:picMkLst>
            <pc:docMk/>
            <pc:sldMk cId="2205564651" sldId="4182"/>
            <ac:picMk id="33" creationId="{10B52AF8-AF50-4233-8DA5-15B6A1FD07A6}"/>
          </ac:picMkLst>
        </pc:picChg>
        <pc:picChg chg="add del mod">
          <ac:chgData name="Michael E" userId="5cf36b76a1ed2b08" providerId="LiveId" clId="{922E345A-6BE9-451C-B3A2-7918652E0B1A}" dt="2021-07-12T07:30:25.383" v="816" actId="21"/>
          <ac:picMkLst>
            <pc:docMk/>
            <pc:sldMk cId="2205564651" sldId="4182"/>
            <ac:picMk id="34" creationId="{FF37F825-DD88-44BB-8A1B-E89E3B9A3EAA}"/>
          </ac:picMkLst>
        </pc:picChg>
        <pc:picChg chg="add del mod">
          <ac:chgData name="Michael E" userId="5cf36b76a1ed2b08" providerId="LiveId" clId="{922E345A-6BE9-451C-B3A2-7918652E0B1A}" dt="2021-07-12T07:30:34.711" v="818" actId="21"/>
          <ac:picMkLst>
            <pc:docMk/>
            <pc:sldMk cId="2205564651" sldId="4182"/>
            <ac:picMk id="35" creationId="{078C4F30-6D17-4C30-9F7A-1CC46E24DCE6}"/>
          </ac:picMkLst>
        </pc:picChg>
        <pc:picChg chg="add del mod">
          <ac:chgData name="Michael E" userId="5cf36b76a1ed2b08" providerId="LiveId" clId="{922E345A-6BE9-451C-B3A2-7918652E0B1A}" dt="2021-07-12T07:30:37.498" v="820" actId="21"/>
          <ac:picMkLst>
            <pc:docMk/>
            <pc:sldMk cId="2205564651" sldId="4182"/>
            <ac:picMk id="36" creationId="{B57709A0-F2DF-4058-B764-966CD937F3B9}"/>
          </ac:picMkLst>
        </pc:picChg>
        <pc:picChg chg="add del mod">
          <ac:chgData name="Michael E" userId="5cf36b76a1ed2b08" providerId="LiveId" clId="{922E345A-6BE9-451C-B3A2-7918652E0B1A}" dt="2021-07-12T07:30:41.632" v="824" actId="21"/>
          <ac:picMkLst>
            <pc:docMk/>
            <pc:sldMk cId="2205564651" sldId="4182"/>
            <ac:picMk id="37" creationId="{6545A9FA-C744-4F09-8D7E-1D6CE2C37E99}"/>
          </ac:picMkLst>
        </pc:picChg>
        <pc:picChg chg="add del mod">
          <ac:chgData name="Michael E" userId="5cf36b76a1ed2b08" providerId="LiveId" clId="{922E345A-6BE9-451C-B3A2-7918652E0B1A}" dt="2021-07-12T07:30:42.976" v="826" actId="21"/>
          <ac:picMkLst>
            <pc:docMk/>
            <pc:sldMk cId="2205564651" sldId="4182"/>
            <ac:picMk id="38" creationId="{D48B0E7F-C67C-4B26-8DB9-CE827EF5CE9C}"/>
          </ac:picMkLst>
        </pc:picChg>
        <pc:picChg chg="add del mod">
          <ac:chgData name="Michael E" userId="5cf36b76a1ed2b08" providerId="LiveId" clId="{922E345A-6BE9-451C-B3A2-7918652E0B1A}" dt="2021-07-12T07:30:44.289" v="828" actId="21"/>
          <ac:picMkLst>
            <pc:docMk/>
            <pc:sldMk cId="2205564651" sldId="4182"/>
            <ac:picMk id="42" creationId="{EB4D757F-3F16-4B6D-93B4-70AA4FF407B5}"/>
          </ac:picMkLst>
        </pc:picChg>
        <pc:picChg chg="add del mod">
          <ac:chgData name="Michael E" userId="5cf36b76a1ed2b08" providerId="LiveId" clId="{922E345A-6BE9-451C-B3A2-7918652E0B1A}" dt="2021-07-12T07:30:45.601" v="830" actId="21"/>
          <ac:picMkLst>
            <pc:docMk/>
            <pc:sldMk cId="2205564651" sldId="4182"/>
            <ac:picMk id="43" creationId="{C2C86300-2991-45D2-862A-1920A52B1FAB}"/>
          </ac:picMkLst>
        </pc:picChg>
        <pc:picChg chg="add del mod">
          <ac:chgData name="Michael E" userId="5cf36b76a1ed2b08" providerId="LiveId" clId="{922E345A-6BE9-451C-B3A2-7918652E0B1A}" dt="2021-07-12T07:30:47.165" v="832" actId="21"/>
          <ac:picMkLst>
            <pc:docMk/>
            <pc:sldMk cId="2205564651" sldId="4182"/>
            <ac:picMk id="44" creationId="{F6C685B3-2DAB-47D1-9EC4-79D4EBA3DAAE}"/>
          </ac:picMkLst>
        </pc:picChg>
        <pc:picChg chg="del mod ord topLvl">
          <ac:chgData name="Michael E" userId="5cf36b76a1ed2b08" providerId="LiveId" clId="{922E345A-6BE9-451C-B3A2-7918652E0B1A}" dt="2021-07-12T07:31:33.070" v="859" actId="478"/>
          <ac:picMkLst>
            <pc:docMk/>
            <pc:sldMk cId="2205564651" sldId="4182"/>
            <ac:picMk id="45" creationId="{00FE776D-4499-4BE8-813F-840B6C1EB29C}"/>
          </ac:picMkLst>
        </pc:picChg>
        <pc:picChg chg="add del mod">
          <ac:chgData name="Michael E" userId="5cf36b76a1ed2b08" providerId="LiveId" clId="{922E345A-6BE9-451C-B3A2-7918652E0B1A}" dt="2021-07-12T07:30:48.382" v="834" actId="21"/>
          <ac:picMkLst>
            <pc:docMk/>
            <pc:sldMk cId="2205564651" sldId="4182"/>
            <ac:picMk id="49" creationId="{757DCAA9-1EE8-4343-9199-6DF1BA6DDB8B}"/>
          </ac:picMkLst>
        </pc:picChg>
        <pc:picChg chg="add del mod">
          <ac:chgData name="Michael E" userId="5cf36b76a1ed2b08" providerId="LiveId" clId="{922E345A-6BE9-451C-B3A2-7918652E0B1A}" dt="2021-07-12T07:30:53.075" v="840" actId="21"/>
          <ac:picMkLst>
            <pc:docMk/>
            <pc:sldMk cId="2205564651" sldId="4182"/>
            <ac:picMk id="50" creationId="{879461C9-13B5-4091-A4F4-114BFAD55345}"/>
          </ac:picMkLst>
        </pc:picChg>
        <pc:picChg chg="add del mod">
          <ac:chgData name="Michael E" userId="5cf36b76a1ed2b08" providerId="LiveId" clId="{922E345A-6BE9-451C-B3A2-7918652E0B1A}" dt="2021-07-12T07:30:54.576" v="842" actId="21"/>
          <ac:picMkLst>
            <pc:docMk/>
            <pc:sldMk cId="2205564651" sldId="4182"/>
            <ac:picMk id="51" creationId="{564754DB-78C0-4856-80AA-A9D348963BC5}"/>
          </ac:picMkLst>
        </pc:picChg>
        <pc:picChg chg="add del mod">
          <ac:chgData name="Michael E" userId="5cf36b76a1ed2b08" providerId="LiveId" clId="{922E345A-6BE9-451C-B3A2-7918652E0B1A}" dt="2021-07-12T07:30:59.083" v="848" actId="21"/>
          <ac:picMkLst>
            <pc:docMk/>
            <pc:sldMk cId="2205564651" sldId="4182"/>
            <ac:picMk id="52" creationId="{83D3C1F0-847A-41E4-8CC1-D0C41DA40242}"/>
          </ac:picMkLst>
        </pc:picChg>
        <pc:picChg chg="add del mod">
          <ac:chgData name="Michael E" userId="5cf36b76a1ed2b08" providerId="LiveId" clId="{922E345A-6BE9-451C-B3A2-7918652E0B1A}" dt="2021-07-12T07:31:00.483" v="850" actId="21"/>
          <ac:picMkLst>
            <pc:docMk/>
            <pc:sldMk cId="2205564651" sldId="4182"/>
            <ac:picMk id="53" creationId="{A5BB3565-C018-481E-ABE0-C471503EF5EC}"/>
          </ac:picMkLst>
        </pc:picChg>
        <pc:picChg chg="add del mod">
          <ac:chgData name="Michael E" userId="5cf36b76a1ed2b08" providerId="LiveId" clId="{922E345A-6BE9-451C-B3A2-7918652E0B1A}" dt="2021-07-12T07:31:03.503" v="853" actId="21"/>
          <ac:picMkLst>
            <pc:docMk/>
            <pc:sldMk cId="2205564651" sldId="4182"/>
            <ac:picMk id="54" creationId="{31AEADD9-7B05-4915-AC5D-2C91C458FA25}"/>
          </ac:picMkLst>
        </pc:picChg>
        <pc:picChg chg="add del mod">
          <ac:chgData name="Michael E" userId="5cf36b76a1ed2b08" providerId="LiveId" clId="{922E345A-6BE9-451C-B3A2-7918652E0B1A}" dt="2021-07-12T07:31:04.762" v="855" actId="21"/>
          <ac:picMkLst>
            <pc:docMk/>
            <pc:sldMk cId="2205564651" sldId="4182"/>
            <ac:picMk id="55" creationId="{30BF13E6-14A7-4823-9009-96F322BD4F61}"/>
          </ac:picMkLst>
        </pc:picChg>
        <pc:picChg chg="add del mod ord">
          <ac:chgData name="Michael E" userId="5cf36b76a1ed2b08" providerId="LiveId" clId="{922E345A-6BE9-451C-B3A2-7918652E0B1A}" dt="2021-07-12T07:37:12.533" v="895" actId="478"/>
          <ac:picMkLst>
            <pc:docMk/>
            <pc:sldMk cId="2205564651" sldId="4182"/>
            <ac:picMk id="56" creationId="{BA3D9BCA-A522-4285-B205-2CDB9AB04EA9}"/>
          </ac:picMkLst>
        </pc:picChg>
        <pc:picChg chg="add del mod">
          <ac:chgData name="Michael E" userId="5cf36b76a1ed2b08" providerId="LiveId" clId="{922E345A-6BE9-451C-B3A2-7918652E0B1A}" dt="2021-07-12T07:32:03.325" v="865" actId="21"/>
          <ac:picMkLst>
            <pc:docMk/>
            <pc:sldMk cId="2205564651" sldId="4182"/>
            <ac:picMk id="57" creationId="{7B38E19D-0EBD-4402-8FEA-341E9D84CB9B}"/>
          </ac:picMkLst>
        </pc:picChg>
        <pc:picChg chg="add del mod">
          <ac:chgData name="Michael E" userId="5cf36b76a1ed2b08" providerId="LiveId" clId="{922E345A-6BE9-451C-B3A2-7918652E0B1A}" dt="2021-07-12T07:32:06.658" v="868" actId="21"/>
          <ac:picMkLst>
            <pc:docMk/>
            <pc:sldMk cId="2205564651" sldId="4182"/>
            <ac:picMk id="58" creationId="{6C21A93E-F171-42E8-98C4-CAAE68D23917}"/>
          </ac:picMkLst>
        </pc:picChg>
        <pc:picChg chg="add del mod">
          <ac:chgData name="Michael E" userId="5cf36b76a1ed2b08" providerId="LiveId" clId="{922E345A-6BE9-451C-B3A2-7918652E0B1A}" dt="2021-07-12T07:32:07.767" v="870" actId="21"/>
          <ac:picMkLst>
            <pc:docMk/>
            <pc:sldMk cId="2205564651" sldId="4182"/>
            <ac:picMk id="59" creationId="{6F2CE8DA-D72A-400A-8E0B-BB046A2A6829}"/>
          </ac:picMkLst>
        </pc:picChg>
        <pc:picChg chg="add mod ord">
          <ac:chgData name="Michael E" userId="5cf36b76a1ed2b08" providerId="LiveId" clId="{922E345A-6BE9-451C-B3A2-7918652E0B1A}" dt="2021-07-12T07:40:23.909" v="906" actId="167"/>
          <ac:picMkLst>
            <pc:docMk/>
            <pc:sldMk cId="2205564651" sldId="4182"/>
            <ac:picMk id="60" creationId="{533AF015-1A3A-4C3D-A342-BA8EE2423AD8}"/>
          </ac:picMkLst>
        </pc:picChg>
        <pc:picChg chg="add del mod">
          <ac:chgData name="Michael E" userId="5cf36b76a1ed2b08" providerId="LiveId" clId="{922E345A-6BE9-451C-B3A2-7918652E0B1A}" dt="2021-07-12T07:36:44.245" v="885" actId="21"/>
          <ac:picMkLst>
            <pc:docMk/>
            <pc:sldMk cId="2205564651" sldId="4182"/>
            <ac:picMk id="61" creationId="{4551AB02-4721-4924-A41C-1166336C3F20}"/>
          </ac:picMkLst>
        </pc:picChg>
        <pc:picChg chg="add del mod">
          <ac:chgData name="Michael E" userId="5cf36b76a1ed2b08" providerId="LiveId" clId="{922E345A-6BE9-451C-B3A2-7918652E0B1A}" dt="2021-07-12T07:36:46.996" v="887" actId="21"/>
          <ac:picMkLst>
            <pc:docMk/>
            <pc:sldMk cId="2205564651" sldId="4182"/>
            <ac:picMk id="62" creationId="{072FB527-89EA-453C-AF45-60B8F5E93C45}"/>
          </ac:picMkLst>
        </pc:picChg>
        <pc:picChg chg="add del mod">
          <ac:chgData name="Michael E" userId="5cf36b76a1ed2b08" providerId="LiveId" clId="{922E345A-6BE9-451C-B3A2-7918652E0B1A}" dt="2021-07-12T07:36:51.012" v="890" actId="21"/>
          <ac:picMkLst>
            <pc:docMk/>
            <pc:sldMk cId="2205564651" sldId="4182"/>
            <ac:picMk id="63" creationId="{CC4A7052-47A2-4B6C-BE4B-67D3D6329B45}"/>
          </ac:picMkLst>
        </pc:picChg>
        <pc:picChg chg="add mod ord">
          <ac:chgData name="Michael E" userId="5cf36b76a1ed2b08" providerId="LiveId" clId="{922E345A-6BE9-451C-B3A2-7918652E0B1A}" dt="2021-07-12T07:40:44.917" v="908" actId="167"/>
          <ac:picMkLst>
            <pc:docMk/>
            <pc:sldMk cId="2205564651" sldId="4182"/>
            <ac:picMk id="64" creationId="{C85C23FB-4AEE-4021-B6D4-613EA14B7963}"/>
          </ac:picMkLst>
        </pc:picChg>
      </pc:sldChg>
      <pc:sldChg chg="addSp delSp modSp mod">
        <pc:chgData name="Michael E" userId="5cf36b76a1ed2b08" providerId="LiveId" clId="{922E345A-6BE9-451C-B3A2-7918652E0B1A}" dt="2021-07-12T07:47:16.984" v="941" actId="478"/>
        <pc:sldMkLst>
          <pc:docMk/>
          <pc:sldMk cId="2388896460" sldId="4183"/>
        </pc:sldMkLst>
        <pc:picChg chg="del">
          <ac:chgData name="Michael E" userId="5cf36b76a1ed2b08" providerId="LiveId" clId="{922E345A-6BE9-451C-B3A2-7918652E0B1A}" dt="2021-07-12T07:47:16.984" v="941" actId="478"/>
          <ac:picMkLst>
            <pc:docMk/>
            <pc:sldMk cId="2388896460" sldId="4183"/>
            <ac:picMk id="3" creationId="{9EB84450-52D3-4E27-B602-534A250FC5BA}"/>
          </ac:picMkLst>
        </pc:picChg>
        <pc:picChg chg="add del mod">
          <ac:chgData name="Michael E" userId="5cf36b76a1ed2b08" providerId="LiveId" clId="{922E345A-6BE9-451C-B3A2-7918652E0B1A}" dt="2021-07-12T07:46:51.082" v="917" actId="21"/>
          <ac:picMkLst>
            <pc:docMk/>
            <pc:sldMk cId="2388896460" sldId="4183"/>
            <ac:picMk id="4" creationId="{915EE9B6-405C-4BCE-96CE-C8D0D0FB7BA1}"/>
          </ac:picMkLst>
        </pc:picChg>
        <pc:picChg chg="add del mod">
          <ac:chgData name="Michael E" userId="5cf36b76a1ed2b08" providerId="LiveId" clId="{922E345A-6BE9-451C-B3A2-7918652E0B1A}" dt="2021-07-12T07:46:56.712" v="926" actId="21"/>
          <ac:picMkLst>
            <pc:docMk/>
            <pc:sldMk cId="2388896460" sldId="4183"/>
            <ac:picMk id="23" creationId="{A9F6D42F-CA87-4464-BFF8-E3440AB93D55}"/>
          </ac:picMkLst>
        </pc:picChg>
        <pc:picChg chg="add del mod">
          <ac:chgData name="Michael E" userId="5cf36b76a1ed2b08" providerId="LiveId" clId="{922E345A-6BE9-451C-B3A2-7918652E0B1A}" dt="2021-07-12T07:46:57.659" v="928" actId="21"/>
          <ac:picMkLst>
            <pc:docMk/>
            <pc:sldMk cId="2388896460" sldId="4183"/>
            <ac:picMk id="24" creationId="{A6AFEB7C-EDE0-448A-B996-589E31EBC411}"/>
          </ac:picMkLst>
        </pc:picChg>
        <pc:picChg chg="add del mod">
          <ac:chgData name="Michael E" userId="5cf36b76a1ed2b08" providerId="LiveId" clId="{922E345A-6BE9-451C-B3A2-7918652E0B1A}" dt="2021-07-12T07:46:58.577" v="930" actId="21"/>
          <ac:picMkLst>
            <pc:docMk/>
            <pc:sldMk cId="2388896460" sldId="4183"/>
            <ac:picMk id="25" creationId="{AED9CAD1-5550-4EE5-AC49-E1C88A63AF38}"/>
          </ac:picMkLst>
        </pc:picChg>
        <pc:picChg chg="add del mod">
          <ac:chgData name="Michael E" userId="5cf36b76a1ed2b08" providerId="LiveId" clId="{922E345A-6BE9-451C-B3A2-7918652E0B1A}" dt="2021-07-12T07:47:00.001" v="932" actId="21"/>
          <ac:picMkLst>
            <pc:docMk/>
            <pc:sldMk cId="2388896460" sldId="4183"/>
            <ac:picMk id="26" creationId="{B3EDB5E8-27A5-44AC-89A1-79D5725101D8}"/>
          </ac:picMkLst>
        </pc:picChg>
        <pc:picChg chg="add del mod">
          <ac:chgData name="Michael E" userId="5cf36b76a1ed2b08" providerId="LiveId" clId="{922E345A-6BE9-451C-B3A2-7918652E0B1A}" dt="2021-07-12T07:47:04.794" v="936" actId="21"/>
          <ac:picMkLst>
            <pc:docMk/>
            <pc:sldMk cId="2388896460" sldId="4183"/>
            <ac:picMk id="27" creationId="{78C435D4-A18C-4A0B-8CE6-3954DF34C44F}"/>
          </ac:picMkLst>
        </pc:picChg>
        <pc:picChg chg="add del mod">
          <ac:chgData name="Michael E" userId="5cf36b76a1ed2b08" providerId="LiveId" clId="{922E345A-6BE9-451C-B3A2-7918652E0B1A}" dt="2021-07-12T07:47:05.897" v="938" actId="21"/>
          <ac:picMkLst>
            <pc:docMk/>
            <pc:sldMk cId="2388896460" sldId="4183"/>
            <ac:picMk id="28" creationId="{0ECD1218-0ACE-4ECC-A423-E3917F880E48}"/>
          </ac:picMkLst>
        </pc:picChg>
        <pc:picChg chg="add mod ord">
          <ac:chgData name="Michael E" userId="5cf36b76a1ed2b08" providerId="LiveId" clId="{922E345A-6BE9-451C-B3A2-7918652E0B1A}" dt="2021-07-12T07:47:14.800" v="940" actId="167"/>
          <ac:picMkLst>
            <pc:docMk/>
            <pc:sldMk cId="2388896460" sldId="4183"/>
            <ac:picMk id="29" creationId="{96E31537-F2D0-4F4C-9C0A-9FE31F14B3A4}"/>
          </ac:picMkLst>
        </pc:picChg>
      </pc:sldChg>
      <pc:sldChg chg="addSp delSp modSp mod modAnim">
        <pc:chgData name="Michael E" userId="5cf36b76a1ed2b08" providerId="LiveId" clId="{922E345A-6BE9-451C-B3A2-7918652E0B1A}" dt="2021-07-12T03:59:09.497" v="552" actId="20577"/>
        <pc:sldMkLst>
          <pc:docMk/>
          <pc:sldMk cId="1974118881" sldId="4184"/>
        </pc:sldMkLst>
        <pc:spChg chg="add mod">
          <ac:chgData name="Michael E" userId="5cf36b76a1ed2b08" providerId="LiveId" clId="{922E345A-6BE9-451C-B3A2-7918652E0B1A}" dt="2021-07-12T03:52:56.664" v="98" actId="20577"/>
          <ac:spMkLst>
            <pc:docMk/>
            <pc:sldMk cId="1974118881" sldId="4184"/>
            <ac:spMk id="13" creationId="{6F425B5B-90FC-41F1-B46B-5D3595F090BB}"/>
          </ac:spMkLst>
        </pc:spChg>
        <pc:spChg chg="add mod">
          <ac:chgData name="Michael E" userId="5cf36b76a1ed2b08" providerId="LiveId" clId="{922E345A-6BE9-451C-B3A2-7918652E0B1A}" dt="2021-07-12T03:57:49.477" v="362" actId="20577"/>
          <ac:spMkLst>
            <pc:docMk/>
            <pc:sldMk cId="1974118881" sldId="4184"/>
            <ac:spMk id="14" creationId="{437BA1CE-9FFD-4DAE-9087-4977EF9654E1}"/>
          </ac:spMkLst>
        </pc:spChg>
        <pc:spChg chg="add mod">
          <ac:chgData name="Michael E" userId="5cf36b76a1ed2b08" providerId="LiveId" clId="{922E345A-6BE9-451C-B3A2-7918652E0B1A}" dt="2021-07-12T03:54:04.889" v="175" actId="20577"/>
          <ac:spMkLst>
            <pc:docMk/>
            <pc:sldMk cId="1974118881" sldId="4184"/>
            <ac:spMk id="15" creationId="{A0B6F01B-E7AC-4181-9D70-EF5D69E4DC43}"/>
          </ac:spMkLst>
        </pc:spChg>
        <pc:spChg chg="add mod">
          <ac:chgData name="Michael E" userId="5cf36b76a1ed2b08" providerId="LiveId" clId="{922E345A-6BE9-451C-B3A2-7918652E0B1A}" dt="2021-07-12T03:56:45.831" v="343" actId="20577"/>
          <ac:spMkLst>
            <pc:docMk/>
            <pc:sldMk cId="1974118881" sldId="4184"/>
            <ac:spMk id="16" creationId="{AC25F024-21A4-4E56-BCA5-4B6A3505F500}"/>
          </ac:spMkLst>
        </pc:spChg>
        <pc:spChg chg="add mod">
          <ac:chgData name="Michael E" userId="5cf36b76a1ed2b08" providerId="LiveId" clId="{922E345A-6BE9-451C-B3A2-7918652E0B1A}" dt="2021-07-12T03:55:02.398" v="336" actId="20577"/>
          <ac:spMkLst>
            <pc:docMk/>
            <pc:sldMk cId="1974118881" sldId="4184"/>
            <ac:spMk id="17" creationId="{273D5D1B-96EF-41DB-A345-81AC5C55346E}"/>
          </ac:spMkLst>
        </pc:spChg>
        <pc:spChg chg="add mod">
          <ac:chgData name="Michael E" userId="5cf36b76a1ed2b08" providerId="LiveId" clId="{922E345A-6BE9-451C-B3A2-7918652E0B1A}" dt="2021-07-12T03:53:35.006" v="105" actId="20577"/>
          <ac:spMkLst>
            <pc:docMk/>
            <pc:sldMk cId="1974118881" sldId="4184"/>
            <ac:spMk id="18" creationId="{44FE69E4-7277-46E9-AA57-1189F74BDA89}"/>
          </ac:spMkLst>
        </pc:spChg>
        <pc:spChg chg="add del mod">
          <ac:chgData name="Michael E" userId="5cf36b76a1ed2b08" providerId="LiveId" clId="{922E345A-6BE9-451C-B3A2-7918652E0B1A}" dt="2021-07-12T03:57:02.198" v="347"/>
          <ac:spMkLst>
            <pc:docMk/>
            <pc:sldMk cId="1974118881" sldId="4184"/>
            <ac:spMk id="19" creationId="{FF3807C8-4FBC-4D51-97D1-BC6030D25C7F}"/>
          </ac:spMkLst>
        </pc:spChg>
        <pc:spChg chg="add del mod">
          <ac:chgData name="Michael E" userId="5cf36b76a1ed2b08" providerId="LiveId" clId="{922E345A-6BE9-451C-B3A2-7918652E0B1A}" dt="2021-07-12T03:57:02.198" v="347"/>
          <ac:spMkLst>
            <pc:docMk/>
            <pc:sldMk cId="1974118881" sldId="4184"/>
            <ac:spMk id="20" creationId="{56E5A4D4-A215-43FA-899E-81537F50A721}"/>
          </ac:spMkLst>
        </pc:spChg>
        <pc:spChg chg="add mod">
          <ac:chgData name="Michael E" userId="5cf36b76a1ed2b08" providerId="LiveId" clId="{922E345A-6BE9-451C-B3A2-7918652E0B1A}" dt="2021-07-12T03:59:09.497" v="552" actId="20577"/>
          <ac:spMkLst>
            <pc:docMk/>
            <pc:sldMk cId="1974118881" sldId="4184"/>
            <ac:spMk id="21" creationId="{49A2E70F-523E-4D1E-8FAE-E51DB008DB59}"/>
          </ac:spMkLst>
        </pc:spChg>
        <pc:spChg chg="add mod">
          <ac:chgData name="Michael E" userId="5cf36b76a1ed2b08" providerId="LiveId" clId="{922E345A-6BE9-451C-B3A2-7918652E0B1A}" dt="2021-07-12T03:57:34.377" v="360" actId="1076"/>
          <ac:spMkLst>
            <pc:docMk/>
            <pc:sldMk cId="1974118881" sldId="4184"/>
            <ac:spMk id="22" creationId="{58EA84D8-D067-4C49-B898-6DCF0E8B456E}"/>
          </ac:spMkLst>
        </pc:spChg>
        <pc:picChg chg="add del mod">
          <ac:chgData name="Michael E" userId="5cf36b76a1ed2b08" providerId="LiveId" clId="{922E345A-6BE9-451C-B3A2-7918652E0B1A}" dt="2021-07-12T03:50:14.742" v="2" actId="21"/>
          <ac:picMkLst>
            <pc:docMk/>
            <pc:sldMk cId="1974118881" sldId="4184"/>
            <ac:picMk id="3" creationId="{958AED90-2972-453F-8D02-D37DDAC69E8C}"/>
          </ac:picMkLst>
        </pc:picChg>
        <pc:picChg chg="add mod">
          <ac:chgData name="Michael E" userId="5cf36b76a1ed2b08" providerId="LiveId" clId="{922E345A-6BE9-451C-B3A2-7918652E0B1A}" dt="2021-07-12T03:51:46.200" v="35"/>
          <ac:picMkLst>
            <pc:docMk/>
            <pc:sldMk cId="1974118881" sldId="4184"/>
            <ac:picMk id="12" creationId="{FB4A56DA-1CCE-4CDC-81DE-0BB282A51C36}"/>
          </ac:picMkLst>
        </pc:picChg>
      </pc:sldChg>
      <pc:sldChg chg="addSp delSp modSp mod modAnim">
        <pc:chgData name="Michael E" userId="5cf36b76a1ed2b08" providerId="LiveId" clId="{922E345A-6BE9-451C-B3A2-7918652E0B1A}" dt="2021-07-12T07:59:01.417" v="1012" actId="166"/>
        <pc:sldMkLst>
          <pc:docMk/>
          <pc:sldMk cId="3103175215" sldId="4185"/>
        </pc:sldMkLst>
        <pc:spChg chg="ord">
          <ac:chgData name="Michael E" userId="5cf36b76a1ed2b08" providerId="LiveId" clId="{922E345A-6BE9-451C-B3A2-7918652E0B1A}" dt="2021-07-12T07:59:01.417" v="1012" actId="166"/>
          <ac:spMkLst>
            <pc:docMk/>
            <pc:sldMk cId="3103175215" sldId="4185"/>
            <ac:spMk id="20" creationId="{2DE0663B-316B-48E9-89F2-7E373FC695D5}"/>
          </ac:spMkLst>
        </pc:spChg>
        <pc:spChg chg="mod topLvl">
          <ac:chgData name="Michael E" userId="5cf36b76a1ed2b08" providerId="LiveId" clId="{922E345A-6BE9-451C-B3A2-7918652E0B1A}" dt="2021-07-12T07:57:49.668" v="1006" actId="164"/>
          <ac:spMkLst>
            <pc:docMk/>
            <pc:sldMk cId="3103175215" sldId="4185"/>
            <ac:spMk id="21" creationId="{C79D050D-B014-4377-A21F-A1ECCB625CB1}"/>
          </ac:spMkLst>
        </pc:spChg>
        <pc:grpChg chg="add del mod ord">
          <ac:chgData name="Michael E" userId="5cf36b76a1ed2b08" providerId="LiveId" clId="{922E345A-6BE9-451C-B3A2-7918652E0B1A}" dt="2021-07-12T07:52:15.519" v="961" actId="165"/>
          <ac:grpSpMkLst>
            <pc:docMk/>
            <pc:sldMk cId="3103175215" sldId="4185"/>
            <ac:grpSpMk id="26" creationId="{9DD34EC9-DB2A-438F-836F-E0E778BBF4F3}"/>
          </ac:grpSpMkLst>
        </pc:grpChg>
        <pc:grpChg chg="add mod ord">
          <ac:chgData name="Michael E" userId="5cf36b76a1ed2b08" providerId="LiveId" clId="{922E345A-6BE9-451C-B3A2-7918652E0B1A}" dt="2021-07-12T07:58:48.811" v="1011" actId="166"/>
          <ac:grpSpMkLst>
            <pc:docMk/>
            <pc:sldMk cId="3103175215" sldId="4185"/>
            <ac:grpSpMk id="42" creationId="{9BAB88AC-CAD7-4011-AA17-4C6128DF1804}"/>
          </ac:grpSpMkLst>
        </pc:grpChg>
        <pc:picChg chg="add del mod">
          <ac:chgData name="Michael E" userId="5cf36b76a1ed2b08" providerId="LiveId" clId="{922E345A-6BE9-451C-B3A2-7918652E0B1A}" dt="2021-07-12T07:50:54.270" v="946" actId="21"/>
          <ac:picMkLst>
            <pc:docMk/>
            <pc:sldMk cId="3103175215" sldId="4185"/>
            <ac:picMk id="4" creationId="{1BCF9657-E216-416A-81D2-F09AC75E6C3B}"/>
          </ac:picMkLst>
        </pc:picChg>
        <pc:picChg chg="add del mod">
          <ac:chgData name="Michael E" userId="5cf36b76a1ed2b08" providerId="LiveId" clId="{922E345A-6BE9-451C-B3A2-7918652E0B1A}" dt="2021-07-12T07:52:38.427" v="966" actId="21"/>
          <ac:picMkLst>
            <pc:docMk/>
            <pc:sldMk cId="3103175215" sldId="4185"/>
            <ac:picMk id="6" creationId="{8C04F8C8-C4A8-442A-A4B5-E712433B223F}"/>
          </ac:picMkLst>
        </pc:picChg>
        <pc:picChg chg="add del mod">
          <ac:chgData name="Michael E" userId="5cf36b76a1ed2b08" providerId="LiveId" clId="{922E345A-6BE9-451C-B3A2-7918652E0B1A}" dt="2021-07-12T07:55:42.746" v="984" actId="21"/>
          <ac:picMkLst>
            <pc:docMk/>
            <pc:sldMk cId="3103175215" sldId="4185"/>
            <ac:picMk id="12" creationId="{1D30D1C7-BAE3-4A09-B5C8-DC8CD1372BEF}"/>
          </ac:picMkLst>
        </pc:picChg>
        <pc:picChg chg="del">
          <ac:chgData name="Michael E" userId="5cf36b76a1ed2b08" providerId="LiveId" clId="{922E345A-6BE9-451C-B3A2-7918652E0B1A}" dt="2021-07-12T07:51:08.882" v="955" actId="478"/>
          <ac:picMkLst>
            <pc:docMk/>
            <pc:sldMk cId="3103175215" sldId="4185"/>
            <ac:picMk id="15" creationId="{B2844BA6-E2EF-49B4-B0DB-24F50E8F0951}"/>
          </ac:picMkLst>
        </pc:picChg>
        <pc:picChg chg="add del mod">
          <ac:chgData name="Michael E" userId="5cf36b76a1ed2b08" providerId="LiveId" clId="{922E345A-6BE9-451C-B3A2-7918652E0B1A}" dt="2021-07-12T07:50:55.555" v="948" actId="21"/>
          <ac:picMkLst>
            <pc:docMk/>
            <pc:sldMk cId="3103175215" sldId="4185"/>
            <ac:picMk id="22" creationId="{95D76817-0DE7-421A-B211-257ECA141AEA}"/>
          </ac:picMkLst>
        </pc:picChg>
        <pc:picChg chg="add del mod">
          <ac:chgData name="Michael E" userId="5cf36b76a1ed2b08" providerId="LiveId" clId="{922E345A-6BE9-451C-B3A2-7918652E0B1A}" dt="2021-07-12T07:50:56.619" v="950" actId="21"/>
          <ac:picMkLst>
            <pc:docMk/>
            <pc:sldMk cId="3103175215" sldId="4185"/>
            <ac:picMk id="23" creationId="{96D030BB-A2DB-496F-BFCC-765856CCECA1}"/>
          </ac:picMkLst>
        </pc:picChg>
        <pc:picChg chg="add del mod">
          <ac:chgData name="Michael E" userId="5cf36b76a1ed2b08" providerId="LiveId" clId="{922E345A-6BE9-451C-B3A2-7918652E0B1A}" dt="2021-07-12T07:50:58.664" v="952" actId="21"/>
          <ac:picMkLst>
            <pc:docMk/>
            <pc:sldMk cId="3103175215" sldId="4185"/>
            <ac:picMk id="24" creationId="{750D0AB9-C095-48E8-B13E-7460DBCBB837}"/>
          </ac:picMkLst>
        </pc:picChg>
        <pc:picChg chg="del mod ord topLvl">
          <ac:chgData name="Michael E" userId="5cf36b76a1ed2b08" providerId="LiveId" clId="{922E345A-6BE9-451C-B3A2-7918652E0B1A}" dt="2021-07-12T07:57:25.136" v="1004" actId="478"/>
          <ac:picMkLst>
            <pc:docMk/>
            <pc:sldMk cId="3103175215" sldId="4185"/>
            <ac:picMk id="25" creationId="{CF024C63-6626-4856-BED5-A373B098884A}"/>
          </ac:picMkLst>
        </pc:picChg>
        <pc:picChg chg="add del mod ord">
          <ac:chgData name="Michael E" userId="5cf36b76a1ed2b08" providerId="LiveId" clId="{922E345A-6BE9-451C-B3A2-7918652E0B1A}" dt="2021-07-12T07:52:55.731" v="980" actId="478"/>
          <ac:picMkLst>
            <pc:docMk/>
            <pc:sldMk cId="3103175215" sldId="4185"/>
            <ac:picMk id="27" creationId="{DCAD2C3A-CD83-45C3-9DC0-C4440C91C763}"/>
          </ac:picMkLst>
        </pc:picChg>
        <pc:picChg chg="add del mod">
          <ac:chgData name="Michael E" userId="5cf36b76a1ed2b08" providerId="LiveId" clId="{922E345A-6BE9-451C-B3A2-7918652E0B1A}" dt="2021-07-12T07:52:40.097" v="968" actId="21"/>
          <ac:picMkLst>
            <pc:docMk/>
            <pc:sldMk cId="3103175215" sldId="4185"/>
            <ac:picMk id="28" creationId="{DCF2BA3C-6D31-4D1D-96A4-C99DA673222C}"/>
          </ac:picMkLst>
        </pc:picChg>
        <pc:picChg chg="add del mod">
          <ac:chgData name="Michael E" userId="5cf36b76a1ed2b08" providerId="LiveId" clId="{922E345A-6BE9-451C-B3A2-7918652E0B1A}" dt="2021-07-12T07:52:41.263" v="970" actId="21"/>
          <ac:picMkLst>
            <pc:docMk/>
            <pc:sldMk cId="3103175215" sldId="4185"/>
            <ac:picMk id="29" creationId="{0823A180-2618-4ADF-94A2-F50106E9F544}"/>
          </ac:picMkLst>
        </pc:picChg>
        <pc:picChg chg="add del mod">
          <ac:chgData name="Michael E" userId="5cf36b76a1ed2b08" providerId="LiveId" clId="{922E345A-6BE9-451C-B3A2-7918652E0B1A}" dt="2021-07-12T07:52:43.186" v="972" actId="21"/>
          <ac:picMkLst>
            <pc:docMk/>
            <pc:sldMk cId="3103175215" sldId="4185"/>
            <ac:picMk id="30" creationId="{A2EDD405-8945-46B1-B4E8-F3068CE7B617}"/>
          </ac:picMkLst>
        </pc:picChg>
        <pc:picChg chg="add del mod">
          <ac:chgData name="Michael E" userId="5cf36b76a1ed2b08" providerId="LiveId" clId="{922E345A-6BE9-451C-B3A2-7918652E0B1A}" dt="2021-07-12T07:52:45.710" v="975" actId="21"/>
          <ac:picMkLst>
            <pc:docMk/>
            <pc:sldMk cId="3103175215" sldId="4185"/>
            <ac:picMk id="31" creationId="{D31CC186-BEE1-4BB6-B94D-DEA727673288}"/>
          </ac:picMkLst>
        </pc:picChg>
        <pc:picChg chg="add del mod">
          <ac:chgData name="Michael E" userId="5cf36b76a1ed2b08" providerId="LiveId" clId="{922E345A-6BE9-451C-B3A2-7918652E0B1A}" dt="2021-07-12T07:52:46.761" v="977" actId="21"/>
          <ac:picMkLst>
            <pc:docMk/>
            <pc:sldMk cId="3103175215" sldId="4185"/>
            <ac:picMk id="32" creationId="{723832FE-71E0-4FBE-95D1-7547ED8D1BC4}"/>
          </ac:picMkLst>
        </pc:picChg>
        <pc:picChg chg="add mod ord">
          <ac:chgData name="Michael E" userId="5cf36b76a1ed2b08" providerId="LiveId" clId="{922E345A-6BE9-451C-B3A2-7918652E0B1A}" dt="2021-07-12T07:57:29.432" v="1005" actId="167"/>
          <ac:picMkLst>
            <pc:docMk/>
            <pc:sldMk cId="3103175215" sldId="4185"/>
            <ac:picMk id="33" creationId="{E2D638FA-3566-475B-90AD-4DAD3F897D72}"/>
          </ac:picMkLst>
        </pc:picChg>
        <pc:picChg chg="add del mod">
          <ac:chgData name="Michael E" userId="5cf36b76a1ed2b08" providerId="LiveId" clId="{922E345A-6BE9-451C-B3A2-7918652E0B1A}" dt="2021-07-12T07:55:45.808" v="986" actId="478"/>
          <ac:picMkLst>
            <pc:docMk/>
            <pc:sldMk cId="3103175215" sldId="4185"/>
            <ac:picMk id="34" creationId="{B0E85433-1E64-48FA-8D1D-206058CAED3C}"/>
          </ac:picMkLst>
        </pc:picChg>
        <pc:picChg chg="add del mod">
          <ac:chgData name="Michael E" userId="5cf36b76a1ed2b08" providerId="LiveId" clId="{922E345A-6BE9-451C-B3A2-7918652E0B1A}" dt="2021-07-12T07:57:04.184" v="990" actId="21"/>
          <ac:picMkLst>
            <pc:docMk/>
            <pc:sldMk cId="3103175215" sldId="4185"/>
            <ac:picMk id="36" creationId="{3C37E5AA-DFD8-4AB6-8363-2E05B4DB95B1}"/>
          </ac:picMkLst>
        </pc:picChg>
        <pc:picChg chg="add del mod">
          <ac:chgData name="Michael E" userId="5cf36b76a1ed2b08" providerId="LiveId" clId="{922E345A-6BE9-451C-B3A2-7918652E0B1A}" dt="2021-07-12T07:57:08.324" v="994" actId="21"/>
          <ac:picMkLst>
            <pc:docMk/>
            <pc:sldMk cId="3103175215" sldId="4185"/>
            <ac:picMk id="37" creationId="{3D94CE78-28C3-451E-B00C-772514708E04}"/>
          </ac:picMkLst>
        </pc:picChg>
        <pc:picChg chg="add del mod">
          <ac:chgData name="Michael E" userId="5cf36b76a1ed2b08" providerId="LiveId" clId="{922E345A-6BE9-451C-B3A2-7918652E0B1A}" dt="2021-07-12T07:57:11.232" v="997" actId="21"/>
          <ac:picMkLst>
            <pc:docMk/>
            <pc:sldMk cId="3103175215" sldId="4185"/>
            <ac:picMk id="38" creationId="{A4869A2B-8DF7-4E33-8A2F-82AAE5F0F6EF}"/>
          </ac:picMkLst>
        </pc:picChg>
        <pc:picChg chg="add del mod">
          <ac:chgData name="Michael E" userId="5cf36b76a1ed2b08" providerId="LiveId" clId="{922E345A-6BE9-451C-B3A2-7918652E0B1A}" dt="2021-07-12T07:57:12.413" v="999" actId="21"/>
          <ac:picMkLst>
            <pc:docMk/>
            <pc:sldMk cId="3103175215" sldId="4185"/>
            <ac:picMk id="39" creationId="{500A4CE8-F354-445B-9E20-FD5A15DE2984}"/>
          </ac:picMkLst>
        </pc:picChg>
        <pc:picChg chg="add del mod">
          <ac:chgData name="Michael E" userId="5cf36b76a1ed2b08" providerId="LiveId" clId="{922E345A-6BE9-451C-B3A2-7918652E0B1A}" dt="2021-07-12T07:57:13.605" v="1001" actId="21"/>
          <ac:picMkLst>
            <pc:docMk/>
            <pc:sldMk cId="3103175215" sldId="4185"/>
            <ac:picMk id="40" creationId="{E286B6B6-4B5D-44BA-9580-61EDC4C22F7D}"/>
          </ac:picMkLst>
        </pc:picChg>
        <pc:picChg chg="add mod ord">
          <ac:chgData name="Michael E" userId="5cf36b76a1ed2b08" providerId="LiveId" clId="{922E345A-6BE9-451C-B3A2-7918652E0B1A}" dt="2021-07-12T07:57:49.668" v="1006" actId="164"/>
          <ac:picMkLst>
            <pc:docMk/>
            <pc:sldMk cId="3103175215" sldId="4185"/>
            <ac:picMk id="41" creationId="{57DAD337-115A-4803-9EAC-672B8DE6BB32}"/>
          </ac:picMkLst>
        </pc:picChg>
      </pc:sldChg>
    </pc:docChg>
  </pc:docChgLst>
  <pc:docChgLst>
    <pc:chgData name="Mark Rafferty" userId="79434966742cdd61" providerId="LiveId" clId="{ACCDEB53-C7F4-4948-8D5E-AED4CD4BCD75}"/>
    <pc:docChg chg="custSel modSld">
      <pc:chgData name="Mark Rafferty" userId="79434966742cdd61" providerId="LiveId" clId="{ACCDEB53-C7F4-4948-8D5E-AED4CD4BCD75}" dt="2020-09-07T23:10:34.342" v="1" actId="313"/>
      <pc:docMkLst>
        <pc:docMk/>
      </pc:docMkLst>
      <pc:sldChg chg="modSp mod">
        <pc:chgData name="Mark Rafferty" userId="79434966742cdd61" providerId="LiveId" clId="{ACCDEB53-C7F4-4948-8D5E-AED4CD4BCD75}" dt="2020-09-07T23:10:34.342" v="1" actId="313"/>
        <pc:sldMkLst>
          <pc:docMk/>
          <pc:sldMk cId="1372046047" sldId="4171"/>
        </pc:sldMkLst>
        <pc:spChg chg="mod">
          <ac:chgData name="Mark Rafferty" userId="79434966742cdd61" providerId="LiveId" clId="{ACCDEB53-C7F4-4948-8D5E-AED4CD4BCD75}" dt="2020-09-07T23:10:34.342" v="1" actId="313"/>
          <ac:spMkLst>
            <pc:docMk/>
            <pc:sldMk cId="1372046047" sldId="4171"/>
            <ac:spMk id="10" creationId="{86829DDF-85C4-4443-8C60-726121A3076D}"/>
          </ac:spMkLst>
        </pc:spChg>
      </pc:sldChg>
    </pc:docChg>
  </pc:docChgLst>
  <pc:docChgLst>
    <pc:chgData name="Michael E" userId="5cf36b76a1ed2b08" providerId="LiveId" clId="{53E7B0FC-B760-446C-8D8C-6B730CF1930F}"/>
    <pc:docChg chg="undo redo custSel addSld delSld modSld">
      <pc:chgData name="Michael E" userId="5cf36b76a1ed2b08" providerId="LiveId" clId="{53E7B0FC-B760-446C-8D8C-6B730CF1930F}" dt="2021-07-06T06:09:00.624" v="8409" actId="2696"/>
      <pc:docMkLst>
        <pc:docMk/>
      </pc:docMkLst>
      <pc:sldChg chg="modSp del mod">
        <pc:chgData name="Michael E" userId="5cf36b76a1ed2b08" providerId="LiveId" clId="{53E7B0FC-B760-446C-8D8C-6B730CF1930F}" dt="2021-07-06T06:09:00.624" v="8409" actId="2696"/>
        <pc:sldMkLst>
          <pc:docMk/>
          <pc:sldMk cId="2532847727" sldId="256"/>
        </pc:sldMkLst>
        <pc:spChg chg="mod">
          <ac:chgData name="Michael E" userId="5cf36b76a1ed2b08" providerId="LiveId" clId="{53E7B0FC-B760-446C-8D8C-6B730CF1930F}" dt="2021-06-25T01:27:32.900" v="2307" actId="20577"/>
          <ac:spMkLst>
            <pc:docMk/>
            <pc:sldMk cId="2532847727" sldId="256"/>
            <ac:spMk id="2" creationId="{54E2D3BF-660D-4490-8E01-5F890E029179}"/>
          </ac:spMkLst>
        </pc:spChg>
      </pc:sldChg>
      <pc:sldChg chg="del">
        <pc:chgData name="Michael E" userId="5cf36b76a1ed2b08" providerId="LiveId" clId="{53E7B0FC-B760-446C-8D8C-6B730CF1930F}" dt="2021-06-24T23:45:13.836" v="287" actId="47"/>
        <pc:sldMkLst>
          <pc:docMk/>
          <pc:sldMk cId="6618366" sldId="4151"/>
        </pc:sldMkLst>
      </pc:sldChg>
      <pc:sldChg chg="del">
        <pc:chgData name="Michael E" userId="5cf36b76a1ed2b08" providerId="LiveId" clId="{53E7B0FC-B760-446C-8D8C-6B730CF1930F}" dt="2021-06-24T23:45:13.836" v="287" actId="47"/>
        <pc:sldMkLst>
          <pc:docMk/>
          <pc:sldMk cId="2646371593" sldId="4152"/>
        </pc:sldMkLst>
      </pc:sldChg>
      <pc:sldChg chg="del">
        <pc:chgData name="Michael E" userId="5cf36b76a1ed2b08" providerId="LiveId" clId="{53E7B0FC-B760-446C-8D8C-6B730CF1930F}" dt="2021-06-24T23:45:13.836" v="287" actId="47"/>
        <pc:sldMkLst>
          <pc:docMk/>
          <pc:sldMk cId="81781582" sldId="4153"/>
        </pc:sldMkLst>
      </pc:sldChg>
      <pc:sldChg chg="del">
        <pc:chgData name="Michael E" userId="5cf36b76a1ed2b08" providerId="LiveId" clId="{53E7B0FC-B760-446C-8D8C-6B730CF1930F}" dt="2021-06-24T23:45:13.836" v="287" actId="47"/>
        <pc:sldMkLst>
          <pc:docMk/>
          <pc:sldMk cId="2216142885" sldId="4154"/>
        </pc:sldMkLst>
      </pc:sldChg>
      <pc:sldChg chg="del">
        <pc:chgData name="Michael E" userId="5cf36b76a1ed2b08" providerId="LiveId" clId="{53E7B0FC-B760-446C-8D8C-6B730CF1930F}" dt="2021-06-24T23:45:13.836" v="287" actId="47"/>
        <pc:sldMkLst>
          <pc:docMk/>
          <pc:sldMk cId="770879297" sldId="4157"/>
        </pc:sldMkLst>
      </pc:sldChg>
      <pc:sldChg chg="del">
        <pc:chgData name="Michael E" userId="5cf36b76a1ed2b08" providerId="LiveId" clId="{53E7B0FC-B760-446C-8D8C-6B730CF1930F}" dt="2021-06-24T23:45:13.836" v="287" actId="47"/>
        <pc:sldMkLst>
          <pc:docMk/>
          <pc:sldMk cId="4226948766" sldId="4167"/>
        </pc:sldMkLst>
      </pc:sldChg>
      <pc:sldChg chg="del">
        <pc:chgData name="Michael E" userId="5cf36b76a1ed2b08" providerId="LiveId" clId="{53E7B0FC-B760-446C-8D8C-6B730CF1930F}" dt="2021-06-24T23:45:13.836" v="287" actId="47"/>
        <pc:sldMkLst>
          <pc:docMk/>
          <pc:sldMk cId="220527506" sldId="4169"/>
        </pc:sldMkLst>
      </pc:sldChg>
      <pc:sldChg chg="del">
        <pc:chgData name="Michael E" userId="5cf36b76a1ed2b08" providerId="LiveId" clId="{53E7B0FC-B760-446C-8D8C-6B730CF1930F}" dt="2021-06-24T23:45:13.836" v="287" actId="47"/>
        <pc:sldMkLst>
          <pc:docMk/>
          <pc:sldMk cId="2914307355" sldId="4170"/>
        </pc:sldMkLst>
      </pc:sldChg>
      <pc:sldChg chg="del">
        <pc:chgData name="Michael E" userId="5cf36b76a1ed2b08" providerId="LiveId" clId="{53E7B0FC-B760-446C-8D8C-6B730CF1930F}" dt="2021-06-24T23:45:13.836" v="287" actId="47"/>
        <pc:sldMkLst>
          <pc:docMk/>
          <pc:sldMk cId="1372046047" sldId="4171"/>
        </pc:sldMkLst>
      </pc:sldChg>
      <pc:sldChg chg="del">
        <pc:chgData name="Michael E" userId="5cf36b76a1ed2b08" providerId="LiveId" clId="{53E7B0FC-B760-446C-8D8C-6B730CF1930F}" dt="2021-06-24T23:45:13.836" v="287" actId="47"/>
        <pc:sldMkLst>
          <pc:docMk/>
          <pc:sldMk cId="3765283608" sldId="4172"/>
        </pc:sldMkLst>
      </pc:sldChg>
      <pc:sldChg chg="del">
        <pc:chgData name="Michael E" userId="5cf36b76a1ed2b08" providerId="LiveId" clId="{53E7B0FC-B760-446C-8D8C-6B730CF1930F}" dt="2021-06-24T23:26:22.565" v="52" actId="47"/>
        <pc:sldMkLst>
          <pc:docMk/>
          <pc:sldMk cId="1215752771" sldId="4173"/>
        </pc:sldMkLst>
      </pc:sldChg>
      <pc:sldChg chg="del">
        <pc:chgData name="Michael E" userId="5cf36b76a1ed2b08" providerId="LiveId" clId="{53E7B0FC-B760-446C-8D8C-6B730CF1930F}" dt="2021-06-24T23:45:13.836" v="287" actId="47"/>
        <pc:sldMkLst>
          <pc:docMk/>
          <pc:sldMk cId="2090702603" sldId="4174"/>
        </pc:sldMkLst>
      </pc:sldChg>
      <pc:sldChg chg="del">
        <pc:chgData name="Michael E" userId="5cf36b76a1ed2b08" providerId="LiveId" clId="{53E7B0FC-B760-446C-8D8C-6B730CF1930F}" dt="2021-06-24T23:26:22.565" v="52" actId="47"/>
        <pc:sldMkLst>
          <pc:docMk/>
          <pc:sldMk cId="2763798476" sldId="4176"/>
        </pc:sldMkLst>
      </pc:sldChg>
      <pc:sldChg chg="del">
        <pc:chgData name="Michael E" userId="5cf36b76a1ed2b08" providerId="LiveId" clId="{53E7B0FC-B760-446C-8D8C-6B730CF1930F}" dt="2021-06-24T23:45:13.836" v="287" actId="47"/>
        <pc:sldMkLst>
          <pc:docMk/>
          <pc:sldMk cId="1322886671" sldId="4177"/>
        </pc:sldMkLst>
      </pc:sldChg>
      <pc:sldChg chg="addSp delSp modSp new add del mod modTransition delAnim modAnim modNotesTx">
        <pc:chgData name="Michael E" userId="5cf36b76a1ed2b08" providerId="LiveId" clId="{53E7B0FC-B760-446C-8D8C-6B730CF1930F}" dt="2021-06-25T10:18:12.813" v="6383"/>
        <pc:sldMkLst>
          <pc:docMk/>
          <pc:sldMk cId="2599480837" sldId="4178"/>
        </pc:sldMkLst>
        <pc:spChg chg="del">
          <ac:chgData name="Michael E" userId="5cf36b76a1ed2b08" providerId="LiveId" clId="{53E7B0FC-B760-446C-8D8C-6B730CF1930F}" dt="2021-06-24T23:27:57.250" v="58" actId="478"/>
          <ac:spMkLst>
            <pc:docMk/>
            <pc:sldMk cId="2599480837" sldId="4178"/>
            <ac:spMk id="2" creationId="{33413F8C-D615-4B37-A435-83C07893A3CA}"/>
          </ac:spMkLst>
        </pc:spChg>
        <pc:spChg chg="del">
          <ac:chgData name="Michael E" userId="5cf36b76a1ed2b08" providerId="LiveId" clId="{53E7B0FC-B760-446C-8D8C-6B730CF1930F}" dt="2021-06-24T23:27:57.250" v="58" actId="478"/>
          <ac:spMkLst>
            <pc:docMk/>
            <pc:sldMk cId="2599480837" sldId="4178"/>
            <ac:spMk id="3" creationId="{DC329731-2707-4B6B-9D4E-AE98F7511322}"/>
          </ac:spMkLst>
        </pc:spChg>
        <pc:spChg chg="del">
          <ac:chgData name="Michael E" userId="5cf36b76a1ed2b08" providerId="LiveId" clId="{53E7B0FC-B760-446C-8D8C-6B730CF1930F}" dt="2021-06-24T23:27:57.250" v="58" actId="478"/>
          <ac:spMkLst>
            <pc:docMk/>
            <pc:sldMk cId="2599480837" sldId="4178"/>
            <ac:spMk id="4" creationId="{FCACDE6A-1027-44E5-AA2A-EA1679997526}"/>
          </ac:spMkLst>
        </pc:spChg>
        <pc:spChg chg="add mod">
          <ac:chgData name="Michael E" userId="5cf36b76a1ed2b08" providerId="LiveId" clId="{53E7B0FC-B760-446C-8D8C-6B730CF1930F}" dt="2021-06-25T01:26:17.633" v="2286" actId="1035"/>
          <ac:spMkLst>
            <pc:docMk/>
            <pc:sldMk cId="2599480837" sldId="4178"/>
            <ac:spMk id="9" creationId="{444EFF2B-DD71-474A-BEB0-2E613136DC5E}"/>
          </ac:spMkLst>
        </pc:spChg>
        <pc:spChg chg="add mod">
          <ac:chgData name="Michael E" userId="5cf36b76a1ed2b08" providerId="LiveId" clId="{53E7B0FC-B760-446C-8D8C-6B730CF1930F}" dt="2021-06-25T06:22:47.373" v="2532"/>
          <ac:spMkLst>
            <pc:docMk/>
            <pc:sldMk cId="2599480837" sldId="4178"/>
            <ac:spMk id="10" creationId="{25C88E41-1987-409C-A1F6-1B8B7058DD77}"/>
          </ac:spMkLst>
        </pc:spChg>
        <pc:spChg chg="add mod">
          <ac:chgData name="Michael E" userId="5cf36b76a1ed2b08" providerId="LiveId" clId="{53E7B0FC-B760-446C-8D8C-6B730CF1930F}" dt="2021-06-25T06:23:01.766" v="2533"/>
          <ac:spMkLst>
            <pc:docMk/>
            <pc:sldMk cId="2599480837" sldId="4178"/>
            <ac:spMk id="11" creationId="{AA5E0D12-D2A9-427B-AFE3-74268159C7BC}"/>
          </ac:spMkLst>
        </pc:spChg>
        <pc:spChg chg="add mod">
          <ac:chgData name="Michael E" userId="5cf36b76a1ed2b08" providerId="LiveId" clId="{53E7B0FC-B760-446C-8D8C-6B730CF1930F}" dt="2021-06-25T06:23:12.300" v="2534"/>
          <ac:spMkLst>
            <pc:docMk/>
            <pc:sldMk cId="2599480837" sldId="4178"/>
            <ac:spMk id="12" creationId="{EA250312-6E8B-4C7A-8F41-17D20E337648}"/>
          </ac:spMkLst>
        </pc:spChg>
        <pc:spChg chg="add mod">
          <ac:chgData name="Michael E" userId="5cf36b76a1ed2b08" providerId="LiveId" clId="{53E7B0FC-B760-446C-8D8C-6B730CF1930F}" dt="2021-06-25T06:23:20.834" v="2535"/>
          <ac:spMkLst>
            <pc:docMk/>
            <pc:sldMk cId="2599480837" sldId="4178"/>
            <ac:spMk id="13" creationId="{FF5B3AA5-A02C-4DC7-82A8-24C3786F9F78}"/>
          </ac:spMkLst>
        </pc:spChg>
        <pc:spChg chg="add del mod">
          <ac:chgData name="Michael E" userId="5cf36b76a1ed2b08" providerId="LiveId" clId="{53E7B0FC-B760-446C-8D8C-6B730CF1930F}" dt="2021-06-25T01:22:05.874" v="1732" actId="478"/>
          <ac:spMkLst>
            <pc:docMk/>
            <pc:sldMk cId="2599480837" sldId="4178"/>
            <ac:spMk id="15" creationId="{830A8AFE-16C4-438F-B09F-EC12E052EC26}"/>
          </ac:spMkLst>
        </pc:spChg>
        <pc:spChg chg="add mod">
          <ac:chgData name="Michael E" userId="5cf36b76a1ed2b08" providerId="LiveId" clId="{53E7B0FC-B760-446C-8D8C-6B730CF1930F}" dt="2021-06-25T01:17:31.591" v="1634" actId="164"/>
          <ac:spMkLst>
            <pc:docMk/>
            <pc:sldMk cId="2599480837" sldId="4178"/>
            <ac:spMk id="16" creationId="{C87EA6F7-6B10-45DB-818A-177A31D776A8}"/>
          </ac:spMkLst>
        </pc:spChg>
        <pc:spChg chg="add del mod">
          <ac:chgData name="Michael E" userId="5cf36b76a1ed2b08" providerId="LiveId" clId="{53E7B0FC-B760-446C-8D8C-6B730CF1930F}" dt="2021-06-25T00:42:55.031" v="984" actId="21"/>
          <ac:spMkLst>
            <pc:docMk/>
            <pc:sldMk cId="2599480837" sldId="4178"/>
            <ac:spMk id="17" creationId="{F3B3C170-F737-4618-8DAC-BA97C3D20A94}"/>
          </ac:spMkLst>
        </pc:spChg>
        <pc:spChg chg="add mod">
          <ac:chgData name="Michael E" userId="5cf36b76a1ed2b08" providerId="LiveId" clId="{53E7B0FC-B760-446C-8D8C-6B730CF1930F}" dt="2021-06-25T08:42:55.841" v="2712" actId="1037"/>
          <ac:spMkLst>
            <pc:docMk/>
            <pc:sldMk cId="2599480837" sldId="4178"/>
            <ac:spMk id="18" creationId="{B2C1D738-4E9B-4444-A309-5F9D5328AACB}"/>
          </ac:spMkLst>
        </pc:spChg>
        <pc:spChg chg="add mod ord">
          <ac:chgData name="Michael E" userId="5cf36b76a1ed2b08" providerId="LiveId" clId="{53E7B0FC-B760-446C-8D8C-6B730CF1930F}" dt="2021-06-25T01:37:06.025" v="2444" actId="1038"/>
          <ac:spMkLst>
            <pc:docMk/>
            <pc:sldMk cId="2599480837" sldId="4178"/>
            <ac:spMk id="19" creationId="{B603BD83-7DB7-400A-A9F9-9448BA7F3567}"/>
          </ac:spMkLst>
        </pc:spChg>
        <pc:spChg chg="add mod">
          <ac:chgData name="Michael E" userId="5cf36b76a1ed2b08" providerId="LiveId" clId="{53E7B0FC-B760-446C-8D8C-6B730CF1930F}" dt="2021-06-25T00:32:44.743" v="947" actId="164"/>
          <ac:spMkLst>
            <pc:docMk/>
            <pc:sldMk cId="2599480837" sldId="4178"/>
            <ac:spMk id="20" creationId="{972E15E6-FFB9-4078-BB69-E5C8A8D90141}"/>
          </ac:spMkLst>
        </pc:spChg>
        <pc:spChg chg="add mod">
          <ac:chgData name="Michael E" userId="5cf36b76a1ed2b08" providerId="LiveId" clId="{53E7B0FC-B760-446C-8D8C-6B730CF1930F}" dt="2021-06-25T08:43:02.133" v="2738" actId="1038"/>
          <ac:spMkLst>
            <pc:docMk/>
            <pc:sldMk cId="2599480837" sldId="4178"/>
            <ac:spMk id="30" creationId="{54B1A6CF-C973-4B96-A4A1-C8232B3A2F2A}"/>
          </ac:spMkLst>
        </pc:spChg>
        <pc:spChg chg="add mod">
          <ac:chgData name="Michael E" userId="5cf36b76a1ed2b08" providerId="LiveId" clId="{53E7B0FC-B760-446C-8D8C-6B730CF1930F}" dt="2021-06-25T01:37:06.025" v="2444" actId="1038"/>
          <ac:spMkLst>
            <pc:docMk/>
            <pc:sldMk cId="2599480837" sldId="4178"/>
            <ac:spMk id="31" creationId="{1D0D8C05-B1C3-43FB-9FB4-17E0CDEDF532}"/>
          </ac:spMkLst>
        </pc:spChg>
        <pc:spChg chg="add mod">
          <ac:chgData name="Michael E" userId="5cf36b76a1ed2b08" providerId="LiveId" clId="{53E7B0FC-B760-446C-8D8C-6B730CF1930F}" dt="2021-06-25T01:37:06.025" v="2444" actId="1038"/>
          <ac:spMkLst>
            <pc:docMk/>
            <pc:sldMk cId="2599480837" sldId="4178"/>
            <ac:spMk id="32" creationId="{6EFBC843-A232-47C4-9DA1-C68D83220B37}"/>
          </ac:spMkLst>
        </pc:spChg>
        <pc:spChg chg="add mod">
          <ac:chgData name="Michael E" userId="5cf36b76a1ed2b08" providerId="LiveId" clId="{53E7B0FC-B760-446C-8D8C-6B730CF1930F}" dt="2021-06-25T01:26:17.633" v="2286" actId="1035"/>
          <ac:spMkLst>
            <pc:docMk/>
            <pc:sldMk cId="2599480837" sldId="4178"/>
            <ac:spMk id="33" creationId="{CE69E11C-8E1A-4B16-B135-9F0F2BFA211F}"/>
          </ac:spMkLst>
        </pc:spChg>
        <pc:spChg chg="add mod">
          <ac:chgData name="Michael E" userId="5cf36b76a1ed2b08" providerId="LiveId" clId="{53E7B0FC-B760-446C-8D8C-6B730CF1930F}" dt="2021-06-25T06:27:12.991" v="2575"/>
          <ac:spMkLst>
            <pc:docMk/>
            <pc:sldMk cId="2599480837" sldId="4178"/>
            <ac:spMk id="34" creationId="{253D2F91-723F-4E9A-B41C-39FBF96F4DAE}"/>
          </ac:spMkLst>
        </pc:spChg>
        <pc:spChg chg="add mod">
          <ac:chgData name="Michael E" userId="5cf36b76a1ed2b08" providerId="LiveId" clId="{53E7B0FC-B760-446C-8D8C-6B730CF1930F}" dt="2021-06-25T06:26:21.688" v="2564"/>
          <ac:spMkLst>
            <pc:docMk/>
            <pc:sldMk cId="2599480837" sldId="4178"/>
            <ac:spMk id="35" creationId="{AAF3CBF6-9AA9-4F14-B741-C06D782A5D4A}"/>
          </ac:spMkLst>
        </pc:spChg>
        <pc:spChg chg="add mod">
          <ac:chgData name="Michael E" userId="5cf36b76a1ed2b08" providerId="LiveId" clId="{53E7B0FC-B760-446C-8D8C-6B730CF1930F}" dt="2021-06-25T06:27:06.875" v="2574"/>
          <ac:spMkLst>
            <pc:docMk/>
            <pc:sldMk cId="2599480837" sldId="4178"/>
            <ac:spMk id="36" creationId="{4693C0F7-7435-480D-A066-2676DFDA13F1}"/>
          </ac:spMkLst>
        </pc:spChg>
        <pc:spChg chg="add del mod">
          <ac:chgData name="Michael E" userId="5cf36b76a1ed2b08" providerId="LiveId" clId="{53E7B0FC-B760-446C-8D8C-6B730CF1930F}" dt="2021-06-25T01:37:17.335" v="2445" actId="478"/>
          <ac:spMkLst>
            <pc:docMk/>
            <pc:sldMk cId="2599480837" sldId="4178"/>
            <ac:spMk id="37" creationId="{4FF484B9-5C0E-428E-A77D-98DD64DDED19}"/>
          </ac:spMkLst>
        </pc:spChg>
        <pc:spChg chg="add del mod">
          <ac:chgData name="Michael E" userId="5cf36b76a1ed2b08" providerId="LiveId" clId="{53E7B0FC-B760-446C-8D8C-6B730CF1930F}" dt="2021-06-25T10:18:12.813" v="6383"/>
          <ac:spMkLst>
            <pc:docMk/>
            <pc:sldMk cId="2599480837" sldId="4178"/>
            <ac:spMk id="50" creationId="{50D1C43D-10A9-4611-B54F-B33DFB07E845}"/>
          </ac:spMkLst>
        </pc:spChg>
        <pc:spChg chg="add del mod">
          <ac:chgData name="Michael E" userId="5cf36b76a1ed2b08" providerId="LiveId" clId="{53E7B0FC-B760-446C-8D8C-6B730CF1930F}" dt="2021-06-25T10:18:12.813" v="6383"/>
          <ac:spMkLst>
            <pc:docMk/>
            <pc:sldMk cId="2599480837" sldId="4178"/>
            <ac:spMk id="51" creationId="{90326B01-87E5-4685-9C92-57586CD98A63}"/>
          </ac:spMkLst>
        </pc:spChg>
        <pc:spChg chg="add mod">
          <ac:chgData name="Michael E" userId="5cf36b76a1ed2b08" providerId="LiveId" clId="{53E7B0FC-B760-446C-8D8C-6B730CF1930F}" dt="2021-06-25T01:37:06.025" v="2444" actId="1038"/>
          <ac:spMkLst>
            <pc:docMk/>
            <pc:sldMk cId="2599480837" sldId="4178"/>
            <ac:spMk id="64" creationId="{05301C5F-0CEC-4CEF-AAC2-3970C76B5B29}"/>
          </ac:spMkLst>
        </pc:spChg>
        <pc:spChg chg="add mod">
          <ac:chgData name="Michael E" userId="5cf36b76a1ed2b08" providerId="LiveId" clId="{53E7B0FC-B760-446C-8D8C-6B730CF1930F}" dt="2021-06-25T01:37:06.025" v="2444" actId="1038"/>
          <ac:spMkLst>
            <pc:docMk/>
            <pc:sldMk cId="2599480837" sldId="4178"/>
            <ac:spMk id="65" creationId="{5B3590E6-AC51-4D04-87D1-4412148ABBC8}"/>
          </ac:spMkLst>
        </pc:spChg>
        <pc:spChg chg="add mod">
          <ac:chgData name="Michael E" userId="5cf36b76a1ed2b08" providerId="LiveId" clId="{53E7B0FC-B760-446C-8D8C-6B730CF1930F}" dt="2021-06-25T01:38:16.545" v="2458"/>
          <ac:spMkLst>
            <pc:docMk/>
            <pc:sldMk cId="2599480837" sldId="4178"/>
            <ac:spMk id="73" creationId="{40E7F8C7-8BA5-4C8F-BAE6-27D21F166E00}"/>
          </ac:spMkLst>
        </pc:spChg>
        <pc:spChg chg="add del mod">
          <ac:chgData name="Michael E" userId="5cf36b76a1ed2b08" providerId="LiveId" clId="{53E7B0FC-B760-446C-8D8C-6B730CF1930F}" dt="2021-06-25T01:37:21.326" v="2447" actId="478"/>
          <ac:spMkLst>
            <pc:docMk/>
            <pc:sldMk cId="2599480837" sldId="4178"/>
            <ac:spMk id="74" creationId="{511CA892-E7CE-480D-B415-4F0CE01F93D7}"/>
          </ac:spMkLst>
        </pc:spChg>
        <pc:grpChg chg="add mod">
          <ac:chgData name="Michael E" userId="5cf36b76a1ed2b08" providerId="LiveId" clId="{53E7B0FC-B760-446C-8D8C-6B730CF1930F}" dt="2021-06-25T08:41:10.622" v="2669" actId="164"/>
          <ac:grpSpMkLst>
            <pc:docMk/>
            <pc:sldMk cId="2599480837" sldId="4178"/>
            <ac:grpSpMk id="4" creationId="{D1150E0D-F7B1-41B5-871A-09C369DAFB70}"/>
          </ac:grpSpMkLst>
        </pc:grpChg>
        <pc:grpChg chg="add mod">
          <ac:chgData name="Michael E" userId="5cf36b76a1ed2b08" providerId="LiveId" clId="{53E7B0FC-B760-446C-8D8C-6B730CF1930F}" dt="2021-06-25T01:37:06.025" v="2444" actId="1038"/>
          <ac:grpSpMkLst>
            <pc:docMk/>
            <pc:sldMk cId="2599480837" sldId="4178"/>
            <ac:grpSpMk id="29" creationId="{97F3B975-ECAE-4350-9A59-672B64FD3A9B}"/>
          </ac:grpSpMkLst>
        </pc:grpChg>
        <pc:grpChg chg="add del mod">
          <ac:chgData name="Michael E" userId="5cf36b76a1ed2b08" providerId="LiveId" clId="{53E7B0FC-B760-446C-8D8C-6B730CF1930F}" dt="2021-06-25T01:22:03.821" v="1731" actId="478"/>
          <ac:grpSpMkLst>
            <pc:docMk/>
            <pc:sldMk cId="2599480837" sldId="4178"/>
            <ac:grpSpMk id="63" creationId="{009BA2EF-F8EE-45B5-ABD9-DB6441AFBD94}"/>
          </ac:grpSpMkLst>
        </pc:grpChg>
        <pc:picChg chg="add mod">
          <ac:chgData name="Michael E" userId="5cf36b76a1ed2b08" providerId="LiveId" clId="{53E7B0FC-B760-446C-8D8C-6B730CF1930F}" dt="2021-06-25T08:41:10.622" v="2669" actId="164"/>
          <ac:picMkLst>
            <pc:docMk/>
            <pc:sldMk cId="2599480837" sldId="4178"/>
            <ac:picMk id="3" creationId="{99F3184D-BA09-4896-A358-BC9365C679AF}"/>
          </ac:picMkLst>
        </pc:picChg>
        <pc:picChg chg="add del">
          <ac:chgData name="Michael E" userId="5cf36b76a1ed2b08" providerId="LiveId" clId="{53E7B0FC-B760-446C-8D8C-6B730CF1930F}" dt="2021-06-24T23:41:14.085" v="60" actId="478"/>
          <ac:picMkLst>
            <pc:docMk/>
            <pc:sldMk cId="2599480837" sldId="4178"/>
            <ac:picMk id="6" creationId="{5BC89F54-5F4E-4A81-9B05-766C4C1D0759}"/>
          </ac:picMkLst>
        </pc:picChg>
        <pc:picChg chg="add del mod">
          <ac:chgData name="Michael E" userId="5cf36b76a1ed2b08" providerId="LiveId" clId="{53E7B0FC-B760-446C-8D8C-6B730CF1930F}" dt="2021-06-25T08:57:03.073" v="3731" actId="21"/>
          <ac:picMkLst>
            <pc:docMk/>
            <pc:sldMk cId="2599480837" sldId="4178"/>
            <ac:picMk id="6" creationId="{8F1B7C06-CD53-439A-9C09-6D9C0E1B3D4A}"/>
          </ac:picMkLst>
        </pc:picChg>
        <pc:picChg chg="add del">
          <ac:chgData name="Michael E" userId="5cf36b76a1ed2b08" providerId="LiveId" clId="{53E7B0FC-B760-446C-8D8C-6B730CF1930F}" dt="2021-06-24T23:41:39.554" v="66" actId="478"/>
          <ac:picMkLst>
            <pc:docMk/>
            <pc:sldMk cId="2599480837" sldId="4178"/>
            <ac:picMk id="8" creationId="{DA4F5BE1-C150-478F-AC13-6C1D2F602D8F}"/>
          </ac:picMkLst>
        </pc:picChg>
        <pc:picChg chg="add del mod">
          <ac:chgData name="Michael E" userId="5cf36b76a1ed2b08" providerId="LiveId" clId="{53E7B0FC-B760-446C-8D8C-6B730CF1930F}" dt="2021-06-25T00:58:33.063" v="1540" actId="478"/>
          <ac:picMkLst>
            <pc:docMk/>
            <pc:sldMk cId="2599480837" sldId="4178"/>
            <ac:picMk id="14" creationId="{1B098B75-B580-4175-8AF1-0FA2D51DB00A}"/>
          </ac:picMkLst>
        </pc:picChg>
        <pc:picChg chg="add del mod">
          <ac:chgData name="Michael E" userId="5cf36b76a1ed2b08" providerId="LiveId" clId="{53E7B0FC-B760-446C-8D8C-6B730CF1930F}" dt="2021-06-25T00:29:44.055" v="653" actId="21"/>
          <ac:picMkLst>
            <pc:docMk/>
            <pc:sldMk cId="2599480837" sldId="4178"/>
            <ac:picMk id="22" creationId="{D5F552E7-4D19-4EFA-9C8B-66EAC5FF5809}"/>
          </ac:picMkLst>
        </pc:picChg>
        <pc:picChg chg="add del mod">
          <ac:chgData name="Michael E" userId="5cf36b76a1ed2b08" providerId="LiveId" clId="{53E7B0FC-B760-446C-8D8C-6B730CF1930F}" dt="2021-06-25T00:29:51.437" v="657" actId="21"/>
          <ac:picMkLst>
            <pc:docMk/>
            <pc:sldMk cId="2599480837" sldId="4178"/>
            <ac:picMk id="23" creationId="{104351AA-C4DD-486B-9465-01F26DED54A6}"/>
          </ac:picMkLst>
        </pc:picChg>
        <pc:picChg chg="add del mod">
          <ac:chgData name="Michael E" userId="5cf36b76a1ed2b08" providerId="LiveId" clId="{53E7B0FC-B760-446C-8D8C-6B730CF1930F}" dt="2021-06-25T00:29:55.208" v="660" actId="21"/>
          <ac:picMkLst>
            <pc:docMk/>
            <pc:sldMk cId="2599480837" sldId="4178"/>
            <ac:picMk id="24" creationId="{B4511826-FCCB-452B-A4FA-DA7E6A9A8565}"/>
          </ac:picMkLst>
        </pc:picChg>
        <pc:picChg chg="add del mod">
          <ac:chgData name="Michael E" userId="5cf36b76a1ed2b08" providerId="LiveId" clId="{53E7B0FC-B760-446C-8D8C-6B730CF1930F}" dt="2021-06-25T00:29:59.543" v="662" actId="21"/>
          <ac:picMkLst>
            <pc:docMk/>
            <pc:sldMk cId="2599480837" sldId="4178"/>
            <ac:picMk id="25" creationId="{49362240-4833-4972-900C-E160578DB199}"/>
          </ac:picMkLst>
        </pc:picChg>
        <pc:picChg chg="add del mod">
          <ac:chgData name="Michael E" userId="5cf36b76a1ed2b08" providerId="LiveId" clId="{53E7B0FC-B760-446C-8D8C-6B730CF1930F}" dt="2021-06-25T00:30:02.256" v="665" actId="21"/>
          <ac:picMkLst>
            <pc:docMk/>
            <pc:sldMk cId="2599480837" sldId="4178"/>
            <ac:picMk id="26" creationId="{0FA046A7-2AEE-4CD2-9960-649EA8516E4C}"/>
          </ac:picMkLst>
        </pc:picChg>
        <pc:picChg chg="add del mod">
          <ac:chgData name="Michael E" userId="5cf36b76a1ed2b08" providerId="LiveId" clId="{53E7B0FC-B760-446C-8D8C-6B730CF1930F}" dt="2021-06-25T00:30:04.650" v="667" actId="21"/>
          <ac:picMkLst>
            <pc:docMk/>
            <pc:sldMk cId="2599480837" sldId="4178"/>
            <ac:picMk id="27" creationId="{2A7D48C3-864E-44AE-BF93-97D605EF9570}"/>
          </ac:picMkLst>
        </pc:picChg>
        <pc:picChg chg="add mod">
          <ac:chgData name="Michael E" userId="5cf36b76a1ed2b08" providerId="LiveId" clId="{53E7B0FC-B760-446C-8D8C-6B730CF1930F}" dt="2021-06-25T00:32:44.743" v="947" actId="164"/>
          <ac:picMkLst>
            <pc:docMk/>
            <pc:sldMk cId="2599480837" sldId="4178"/>
            <ac:picMk id="28" creationId="{2F3B9C12-71F7-4A12-8ED7-F786563A42CD}"/>
          </ac:picMkLst>
        </pc:picChg>
        <pc:picChg chg="add del mod">
          <ac:chgData name="Michael E" userId="5cf36b76a1ed2b08" providerId="LiveId" clId="{53E7B0FC-B760-446C-8D8C-6B730CF1930F}" dt="2021-06-25T08:57:07.075" v="3735" actId="21"/>
          <ac:picMkLst>
            <pc:docMk/>
            <pc:sldMk cId="2599480837" sldId="4178"/>
            <ac:picMk id="37" creationId="{8F0A7F9B-368A-41E5-8A11-04D9A1B6DF9B}"/>
          </ac:picMkLst>
        </pc:picChg>
        <pc:picChg chg="add del mod">
          <ac:chgData name="Michael E" userId="5cf36b76a1ed2b08" providerId="LiveId" clId="{53E7B0FC-B760-446C-8D8C-6B730CF1930F}" dt="2021-06-25T08:57:13.162" v="3740" actId="21"/>
          <ac:picMkLst>
            <pc:docMk/>
            <pc:sldMk cId="2599480837" sldId="4178"/>
            <ac:picMk id="38" creationId="{1352311F-0D84-43D0-840C-7E55AC899A26}"/>
          </ac:picMkLst>
        </pc:picChg>
        <pc:picChg chg="add del mod">
          <ac:chgData name="Michael E" userId="5cf36b76a1ed2b08" providerId="LiveId" clId="{53E7B0FC-B760-446C-8D8C-6B730CF1930F}" dt="2021-06-25T08:57:17.963" v="3743" actId="21"/>
          <ac:picMkLst>
            <pc:docMk/>
            <pc:sldMk cId="2599480837" sldId="4178"/>
            <ac:picMk id="39" creationId="{5439EBFB-BD21-42A0-8A31-A3A289DA9977}"/>
          </ac:picMkLst>
        </pc:picChg>
        <pc:picChg chg="add del mod">
          <ac:chgData name="Michael E" userId="5cf36b76a1ed2b08" providerId="LiveId" clId="{53E7B0FC-B760-446C-8D8C-6B730CF1930F}" dt="2021-06-25T00:58:11.878" v="1535" actId="21"/>
          <ac:picMkLst>
            <pc:docMk/>
            <pc:sldMk cId="2599480837" sldId="4178"/>
            <ac:picMk id="39" creationId="{732722AA-E9C3-4AD8-AFCC-32F8B84E3A2B}"/>
          </ac:picMkLst>
        </pc:picChg>
        <pc:picChg chg="add del mod">
          <ac:chgData name="Michael E" userId="5cf36b76a1ed2b08" providerId="LiveId" clId="{53E7B0FC-B760-446C-8D8C-6B730CF1930F}" dt="2021-06-25T00:58:15.772" v="1537" actId="21"/>
          <ac:picMkLst>
            <pc:docMk/>
            <pc:sldMk cId="2599480837" sldId="4178"/>
            <ac:picMk id="40" creationId="{38A28B79-1BC8-42CC-B4FF-3C03CCA43528}"/>
          </ac:picMkLst>
        </pc:picChg>
        <pc:picChg chg="add del mod">
          <ac:chgData name="Michael E" userId="5cf36b76a1ed2b08" providerId="LiveId" clId="{53E7B0FC-B760-446C-8D8C-6B730CF1930F}" dt="2021-06-25T08:57:19.318" v="3745" actId="21"/>
          <ac:picMkLst>
            <pc:docMk/>
            <pc:sldMk cId="2599480837" sldId="4178"/>
            <ac:picMk id="40" creationId="{C597A2C7-5D9C-40A4-B3DF-C4D2A8BF7365}"/>
          </ac:picMkLst>
        </pc:picChg>
        <pc:picChg chg="add del mod">
          <ac:chgData name="Michael E" userId="5cf36b76a1ed2b08" providerId="LiveId" clId="{53E7B0FC-B760-446C-8D8C-6B730CF1930F}" dt="2021-06-25T08:57:20.474" v="3747" actId="21"/>
          <ac:picMkLst>
            <pc:docMk/>
            <pc:sldMk cId="2599480837" sldId="4178"/>
            <ac:picMk id="41" creationId="{28363E48-A57C-436D-8168-6E7DEB3B7747}"/>
          </ac:picMkLst>
        </pc:picChg>
        <pc:picChg chg="add del mod ord">
          <ac:chgData name="Michael E" userId="5cf36b76a1ed2b08" providerId="LiveId" clId="{53E7B0FC-B760-446C-8D8C-6B730CF1930F}" dt="2021-06-25T01:14:25.787" v="1592" actId="478"/>
          <ac:picMkLst>
            <pc:docMk/>
            <pc:sldMk cId="2599480837" sldId="4178"/>
            <ac:picMk id="41" creationId="{9D6F9001-069B-422C-96D0-AAB95EAC9694}"/>
          </ac:picMkLst>
        </pc:picChg>
        <pc:picChg chg="add del mod">
          <ac:chgData name="Michael E" userId="5cf36b76a1ed2b08" providerId="LiveId" clId="{53E7B0FC-B760-446C-8D8C-6B730CF1930F}" dt="2021-06-25T08:57:21.612" v="3749" actId="21"/>
          <ac:picMkLst>
            <pc:docMk/>
            <pc:sldMk cId="2599480837" sldId="4178"/>
            <ac:picMk id="42" creationId="{1BC99764-52BC-4DCA-8177-DA8034DB289C}"/>
          </ac:picMkLst>
        </pc:picChg>
        <pc:picChg chg="add del mod">
          <ac:chgData name="Michael E" userId="5cf36b76a1ed2b08" providerId="LiveId" clId="{53E7B0FC-B760-446C-8D8C-6B730CF1930F}" dt="2021-06-25T08:57:23.818" v="3751" actId="21"/>
          <ac:picMkLst>
            <pc:docMk/>
            <pc:sldMk cId="2599480837" sldId="4178"/>
            <ac:picMk id="43" creationId="{7AF4215F-CD76-4964-B0C3-4FDFCB634FAA}"/>
          </ac:picMkLst>
        </pc:picChg>
        <pc:picChg chg="add del mod">
          <ac:chgData name="Michael E" userId="5cf36b76a1ed2b08" providerId="LiveId" clId="{53E7B0FC-B760-446C-8D8C-6B730CF1930F}" dt="2021-06-25T01:13:01.324" v="1561" actId="478"/>
          <ac:picMkLst>
            <pc:docMk/>
            <pc:sldMk cId="2599480837" sldId="4178"/>
            <ac:picMk id="43" creationId="{7B053FE5-4B34-4D70-9695-58C6045BF6B1}"/>
          </ac:picMkLst>
        </pc:picChg>
        <pc:picChg chg="add del mod">
          <ac:chgData name="Michael E" userId="5cf36b76a1ed2b08" providerId="LiveId" clId="{53E7B0FC-B760-446C-8D8C-6B730CF1930F}" dt="2021-06-25T10:17:35.377" v="6369" actId="21"/>
          <ac:picMkLst>
            <pc:docMk/>
            <pc:sldMk cId="2599480837" sldId="4178"/>
            <ac:picMk id="44" creationId="{A4E25F50-37D1-4198-9C53-407C6B9F73C3}"/>
          </ac:picMkLst>
        </pc:picChg>
        <pc:picChg chg="add del mod">
          <ac:chgData name="Michael E" userId="5cf36b76a1ed2b08" providerId="LiveId" clId="{53E7B0FC-B760-446C-8D8C-6B730CF1930F}" dt="2021-06-25T10:17:42.499" v="6371" actId="21"/>
          <ac:picMkLst>
            <pc:docMk/>
            <pc:sldMk cId="2599480837" sldId="4178"/>
            <ac:picMk id="45" creationId="{83C422CF-5D72-455A-AC39-23FD406D2C08}"/>
          </ac:picMkLst>
        </pc:picChg>
        <pc:picChg chg="add del mod ord">
          <ac:chgData name="Michael E" userId="5cf36b76a1ed2b08" providerId="LiveId" clId="{53E7B0FC-B760-446C-8D8C-6B730CF1930F}" dt="2021-06-25T01:13:53.645" v="1570" actId="21"/>
          <ac:picMkLst>
            <pc:docMk/>
            <pc:sldMk cId="2599480837" sldId="4178"/>
            <ac:picMk id="45" creationId="{C4F49ED9-7C72-409B-A78F-E74ACD4A33B2}"/>
          </ac:picMkLst>
        </pc:picChg>
        <pc:picChg chg="add del mod">
          <ac:chgData name="Michael E" userId="5cf36b76a1ed2b08" providerId="LiveId" clId="{53E7B0FC-B760-446C-8D8C-6B730CF1930F}" dt="2021-06-25T10:17:45.258" v="6374" actId="21"/>
          <ac:picMkLst>
            <pc:docMk/>
            <pc:sldMk cId="2599480837" sldId="4178"/>
            <ac:picMk id="46" creationId="{1CE9D672-D725-4BFA-9BDB-F8908CDD6F0D}"/>
          </ac:picMkLst>
        </pc:picChg>
        <pc:picChg chg="add del mod">
          <ac:chgData name="Michael E" userId="5cf36b76a1ed2b08" providerId="LiveId" clId="{53E7B0FC-B760-446C-8D8C-6B730CF1930F}" dt="2021-06-25T01:13:57.815" v="1572" actId="21"/>
          <ac:picMkLst>
            <pc:docMk/>
            <pc:sldMk cId="2599480837" sldId="4178"/>
            <ac:picMk id="46" creationId="{7274D8A4-7170-4C0D-9A54-CF0A6535BD25}"/>
          </ac:picMkLst>
        </pc:picChg>
        <pc:picChg chg="add del mod">
          <ac:chgData name="Michael E" userId="5cf36b76a1ed2b08" providerId="LiveId" clId="{53E7B0FC-B760-446C-8D8C-6B730CF1930F}" dt="2021-06-25T10:17:47.047" v="6376" actId="21"/>
          <ac:picMkLst>
            <pc:docMk/>
            <pc:sldMk cId="2599480837" sldId="4178"/>
            <ac:picMk id="47" creationId="{2D145C90-E156-4676-B150-0BD5CFD6F269}"/>
          </ac:picMkLst>
        </pc:picChg>
        <pc:picChg chg="add del mod">
          <ac:chgData name="Michael E" userId="5cf36b76a1ed2b08" providerId="LiveId" clId="{53E7B0FC-B760-446C-8D8C-6B730CF1930F}" dt="2021-06-25T01:14:03.004" v="1578" actId="21"/>
          <ac:picMkLst>
            <pc:docMk/>
            <pc:sldMk cId="2599480837" sldId="4178"/>
            <ac:picMk id="47" creationId="{33C526D3-3744-4E74-90A3-8AAAF3910DFF}"/>
          </ac:picMkLst>
        </pc:picChg>
        <pc:picChg chg="add del mod">
          <ac:chgData name="Michael E" userId="5cf36b76a1ed2b08" providerId="LiveId" clId="{53E7B0FC-B760-446C-8D8C-6B730CF1930F}" dt="2021-06-25T10:17:48.455" v="6378" actId="21"/>
          <ac:picMkLst>
            <pc:docMk/>
            <pc:sldMk cId="2599480837" sldId="4178"/>
            <ac:picMk id="48" creationId="{4103C4A6-8C2D-4056-8100-32DA2005C2A3}"/>
          </ac:picMkLst>
        </pc:picChg>
        <pc:picChg chg="add del mod">
          <ac:chgData name="Michael E" userId="5cf36b76a1ed2b08" providerId="LiveId" clId="{53E7B0FC-B760-446C-8D8C-6B730CF1930F}" dt="2021-06-25T01:14:06.288" v="1580" actId="21"/>
          <ac:picMkLst>
            <pc:docMk/>
            <pc:sldMk cId="2599480837" sldId="4178"/>
            <ac:picMk id="48" creationId="{BA5EBDC9-E282-4BA0-9B42-C6D240F4C441}"/>
          </ac:picMkLst>
        </pc:picChg>
        <pc:picChg chg="add del mod">
          <ac:chgData name="Michael E" userId="5cf36b76a1ed2b08" providerId="LiveId" clId="{53E7B0FC-B760-446C-8D8C-6B730CF1930F}" dt="2021-06-25T10:17:50.393" v="6380" actId="21"/>
          <ac:picMkLst>
            <pc:docMk/>
            <pc:sldMk cId="2599480837" sldId="4178"/>
            <ac:picMk id="49" creationId="{1C861F24-3194-4C1A-BA99-1E88641BBEC0}"/>
          </ac:picMkLst>
        </pc:picChg>
        <pc:picChg chg="add del mod">
          <ac:chgData name="Michael E" userId="5cf36b76a1ed2b08" providerId="LiveId" clId="{53E7B0FC-B760-446C-8D8C-6B730CF1930F}" dt="2021-06-25T01:14:09.759" v="1584" actId="21"/>
          <ac:picMkLst>
            <pc:docMk/>
            <pc:sldMk cId="2599480837" sldId="4178"/>
            <ac:picMk id="49" creationId="{7B788ACC-8652-4B99-A0F4-1085045E8072}"/>
          </ac:picMkLst>
        </pc:picChg>
        <pc:picChg chg="add del mod">
          <ac:chgData name="Michael E" userId="5cf36b76a1ed2b08" providerId="LiveId" clId="{53E7B0FC-B760-446C-8D8C-6B730CF1930F}" dt="2021-06-25T01:14:14.034" v="1586" actId="21"/>
          <ac:picMkLst>
            <pc:docMk/>
            <pc:sldMk cId="2599480837" sldId="4178"/>
            <ac:picMk id="50" creationId="{619943ED-EED0-43DE-B983-B7F0C8344A05}"/>
          </ac:picMkLst>
        </pc:picChg>
        <pc:picChg chg="add del mod">
          <ac:chgData name="Michael E" userId="5cf36b76a1ed2b08" providerId="LiveId" clId="{53E7B0FC-B760-446C-8D8C-6B730CF1930F}" dt="2021-06-25T01:14:17.139" v="1589" actId="21"/>
          <ac:picMkLst>
            <pc:docMk/>
            <pc:sldMk cId="2599480837" sldId="4178"/>
            <ac:picMk id="51" creationId="{B281C58B-C252-4A83-A77F-493CA5910E52}"/>
          </ac:picMkLst>
        </pc:picChg>
        <pc:picChg chg="add del mod ord">
          <ac:chgData name="Michael E" userId="5cf36b76a1ed2b08" providerId="LiveId" clId="{53E7B0FC-B760-446C-8D8C-6B730CF1930F}" dt="2021-06-25T01:22:01.942" v="1730" actId="478"/>
          <ac:picMkLst>
            <pc:docMk/>
            <pc:sldMk cId="2599480837" sldId="4178"/>
            <ac:picMk id="52" creationId="{12235B3D-272F-4F4E-88AD-AC7F2CB9B31F}"/>
          </ac:picMkLst>
        </pc:picChg>
        <pc:picChg chg="add del mod">
          <ac:chgData name="Michael E" userId="5cf36b76a1ed2b08" providerId="LiveId" clId="{53E7B0FC-B760-446C-8D8C-6B730CF1930F}" dt="2021-06-25T01:16:58.423" v="1614" actId="21"/>
          <ac:picMkLst>
            <pc:docMk/>
            <pc:sldMk cId="2599480837" sldId="4178"/>
            <ac:picMk id="54" creationId="{6395D398-6854-4536-B8AA-50E6F4E20EA1}"/>
          </ac:picMkLst>
        </pc:picChg>
        <pc:picChg chg="add del mod">
          <ac:chgData name="Michael E" userId="5cf36b76a1ed2b08" providerId="LiveId" clId="{53E7B0FC-B760-446C-8D8C-6B730CF1930F}" dt="2021-06-25T01:17:01.969" v="1616" actId="21"/>
          <ac:picMkLst>
            <pc:docMk/>
            <pc:sldMk cId="2599480837" sldId="4178"/>
            <ac:picMk id="55" creationId="{DA3D2EAB-546F-44AB-84C3-B5F538EEBBBC}"/>
          </ac:picMkLst>
        </pc:picChg>
        <pc:picChg chg="add del mod">
          <ac:chgData name="Michael E" userId="5cf36b76a1ed2b08" providerId="LiveId" clId="{53E7B0FC-B760-446C-8D8C-6B730CF1930F}" dt="2021-06-25T01:17:04.374" v="1619" actId="21"/>
          <ac:picMkLst>
            <pc:docMk/>
            <pc:sldMk cId="2599480837" sldId="4178"/>
            <ac:picMk id="56" creationId="{D4A3A1CB-FA06-4857-83B0-70350E91368A}"/>
          </ac:picMkLst>
        </pc:picChg>
        <pc:picChg chg="add del mod">
          <ac:chgData name="Michael E" userId="5cf36b76a1ed2b08" providerId="LiveId" clId="{53E7B0FC-B760-446C-8D8C-6B730CF1930F}" dt="2021-06-25T01:17:07.192" v="1621" actId="21"/>
          <ac:picMkLst>
            <pc:docMk/>
            <pc:sldMk cId="2599480837" sldId="4178"/>
            <ac:picMk id="57" creationId="{D926F64F-A0D4-45A6-BF1D-AD7252289802}"/>
          </ac:picMkLst>
        </pc:picChg>
        <pc:picChg chg="add del mod">
          <ac:chgData name="Michael E" userId="5cf36b76a1ed2b08" providerId="LiveId" clId="{53E7B0FC-B760-446C-8D8C-6B730CF1930F}" dt="2021-06-25T01:17:10.419" v="1626" actId="21"/>
          <ac:picMkLst>
            <pc:docMk/>
            <pc:sldMk cId="2599480837" sldId="4178"/>
            <ac:picMk id="58" creationId="{27EC730D-05E6-437D-84C6-50DBCDD1CFE7}"/>
          </ac:picMkLst>
        </pc:picChg>
        <pc:picChg chg="add del mod">
          <ac:chgData name="Michael E" userId="5cf36b76a1ed2b08" providerId="LiveId" clId="{53E7B0FC-B760-446C-8D8C-6B730CF1930F}" dt="2021-06-25T01:17:11.897" v="1628" actId="21"/>
          <ac:picMkLst>
            <pc:docMk/>
            <pc:sldMk cId="2599480837" sldId="4178"/>
            <ac:picMk id="59" creationId="{E2A20A06-A11F-4E85-984C-66F17ED10275}"/>
          </ac:picMkLst>
        </pc:picChg>
        <pc:picChg chg="add del mod">
          <ac:chgData name="Michael E" userId="5cf36b76a1ed2b08" providerId="LiveId" clId="{53E7B0FC-B760-446C-8D8C-6B730CF1930F}" dt="2021-06-25T01:17:14.747" v="1630" actId="21"/>
          <ac:picMkLst>
            <pc:docMk/>
            <pc:sldMk cId="2599480837" sldId="4178"/>
            <ac:picMk id="60" creationId="{4791624A-74D1-47AF-B27D-02FE828B0620}"/>
          </ac:picMkLst>
        </pc:picChg>
        <pc:picChg chg="add del mod">
          <ac:chgData name="Michael E" userId="5cf36b76a1ed2b08" providerId="LiveId" clId="{53E7B0FC-B760-446C-8D8C-6B730CF1930F}" dt="2021-06-25T01:17:18.724" v="1632" actId="21"/>
          <ac:picMkLst>
            <pc:docMk/>
            <pc:sldMk cId="2599480837" sldId="4178"/>
            <ac:picMk id="61" creationId="{08167537-4100-445D-8069-8B82E01B08C3}"/>
          </ac:picMkLst>
        </pc:picChg>
        <pc:picChg chg="add mod">
          <ac:chgData name="Michael E" userId="5cf36b76a1ed2b08" providerId="LiveId" clId="{53E7B0FC-B760-446C-8D8C-6B730CF1930F}" dt="2021-06-25T01:17:31.591" v="1634" actId="164"/>
          <ac:picMkLst>
            <pc:docMk/>
            <pc:sldMk cId="2599480837" sldId="4178"/>
            <ac:picMk id="62" creationId="{D43432F9-3E88-49F5-93D8-F2725A75BD4D}"/>
          </ac:picMkLst>
        </pc:picChg>
        <pc:picChg chg="add del mod">
          <ac:chgData name="Michael E" userId="5cf36b76a1ed2b08" providerId="LiveId" clId="{53E7B0FC-B760-446C-8D8C-6B730CF1930F}" dt="2021-06-25T01:21:38.541" v="1716" actId="21"/>
          <ac:picMkLst>
            <pc:docMk/>
            <pc:sldMk cId="2599480837" sldId="4178"/>
            <ac:picMk id="67" creationId="{E3E4A631-1C52-44AC-8C56-9381EA354744}"/>
          </ac:picMkLst>
        </pc:picChg>
        <pc:picChg chg="add del mod">
          <ac:chgData name="Michael E" userId="5cf36b76a1ed2b08" providerId="LiveId" clId="{53E7B0FC-B760-446C-8D8C-6B730CF1930F}" dt="2021-06-25T01:21:41.223" v="1718" actId="21"/>
          <ac:picMkLst>
            <pc:docMk/>
            <pc:sldMk cId="2599480837" sldId="4178"/>
            <ac:picMk id="68" creationId="{DFFF8B5F-C539-4992-A022-848BD8395D9C}"/>
          </ac:picMkLst>
        </pc:picChg>
        <pc:picChg chg="add del mod">
          <ac:chgData name="Michael E" userId="5cf36b76a1ed2b08" providerId="LiveId" clId="{53E7B0FC-B760-446C-8D8C-6B730CF1930F}" dt="2021-06-25T01:21:44.495" v="1722" actId="21"/>
          <ac:picMkLst>
            <pc:docMk/>
            <pc:sldMk cId="2599480837" sldId="4178"/>
            <ac:picMk id="69" creationId="{CB9A7DDF-37D7-4C28-B4A9-3EE2D50EFF87}"/>
          </ac:picMkLst>
        </pc:picChg>
        <pc:picChg chg="add del mod">
          <ac:chgData name="Michael E" userId="5cf36b76a1ed2b08" providerId="LiveId" clId="{53E7B0FC-B760-446C-8D8C-6B730CF1930F}" dt="2021-06-25T01:21:46.164" v="1724" actId="21"/>
          <ac:picMkLst>
            <pc:docMk/>
            <pc:sldMk cId="2599480837" sldId="4178"/>
            <ac:picMk id="70" creationId="{CC78B3C9-CAF1-42CD-BBC4-4722E9895141}"/>
          </ac:picMkLst>
        </pc:picChg>
        <pc:picChg chg="add del mod">
          <ac:chgData name="Michael E" userId="5cf36b76a1ed2b08" providerId="LiveId" clId="{53E7B0FC-B760-446C-8D8C-6B730CF1930F}" dt="2021-06-25T01:21:49.111" v="1727" actId="21"/>
          <ac:picMkLst>
            <pc:docMk/>
            <pc:sldMk cId="2599480837" sldId="4178"/>
            <ac:picMk id="71" creationId="{F57428C1-52A2-4734-922B-6EC99D9CD22A}"/>
          </ac:picMkLst>
        </pc:picChg>
        <pc:picChg chg="add mod ord">
          <ac:chgData name="Michael E" userId="5cf36b76a1ed2b08" providerId="LiveId" clId="{53E7B0FC-B760-446C-8D8C-6B730CF1930F}" dt="2021-06-25T01:37:06.025" v="2444" actId="1038"/>
          <ac:picMkLst>
            <pc:docMk/>
            <pc:sldMk cId="2599480837" sldId="4178"/>
            <ac:picMk id="72" creationId="{42CD8ADF-785E-46B7-A56B-92609A4078E8}"/>
          </ac:picMkLst>
        </pc:picChg>
        <pc:picChg chg="add del mod">
          <ac:chgData name="Michael E" userId="5cf36b76a1ed2b08" providerId="LiveId" clId="{53E7B0FC-B760-446C-8D8C-6B730CF1930F}" dt="2021-06-25T03:58:31.651" v="2470" actId="21"/>
          <ac:picMkLst>
            <pc:docMk/>
            <pc:sldMk cId="2599480837" sldId="4178"/>
            <ac:picMk id="75" creationId="{CEDD7102-BD62-467C-ACAB-1D56E7D4B572}"/>
          </ac:picMkLst>
        </pc:picChg>
        <pc:picChg chg="add del mod">
          <ac:chgData name="Michael E" userId="5cf36b76a1ed2b08" providerId="LiveId" clId="{53E7B0FC-B760-446C-8D8C-6B730CF1930F}" dt="2021-06-25T04:01:26.594" v="2475" actId="21"/>
          <ac:picMkLst>
            <pc:docMk/>
            <pc:sldMk cId="2599480837" sldId="4178"/>
            <ac:picMk id="77" creationId="{9765FAFD-3E1F-4D71-A972-B8BB699C6A51}"/>
          </ac:picMkLst>
        </pc:picChg>
        <pc:picChg chg="add del mod">
          <ac:chgData name="Michael E" userId="5cf36b76a1ed2b08" providerId="LiveId" clId="{53E7B0FC-B760-446C-8D8C-6B730CF1930F}" dt="2021-06-25T04:01:28.249" v="2477" actId="21"/>
          <ac:picMkLst>
            <pc:docMk/>
            <pc:sldMk cId="2599480837" sldId="4178"/>
            <ac:picMk id="78" creationId="{9A062E74-96AF-494B-BC06-88B2CF5347B7}"/>
          </ac:picMkLst>
        </pc:picChg>
        <pc:picChg chg="add del mod">
          <ac:chgData name="Michael E" userId="5cf36b76a1ed2b08" providerId="LiveId" clId="{53E7B0FC-B760-446C-8D8C-6B730CF1930F}" dt="2021-06-25T04:01:34.858" v="2488" actId="21"/>
          <ac:picMkLst>
            <pc:docMk/>
            <pc:sldMk cId="2599480837" sldId="4178"/>
            <ac:picMk id="79" creationId="{CFACAFE1-CDD0-4F60-8BE0-D0B3238996C8}"/>
          </ac:picMkLst>
        </pc:picChg>
        <pc:picChg chg="add del mod">
          <ac:chgData name="Michael E" userId="5cf36b76a1ed2b08" providerId="LiveId" clId="{53E7B0FC-B760-446C-8D8C-6B730CF1930F}" dt="2021-06-25T04:01:36.825" v="2491" actId="21"/>
          <ac:picMkLst>
            <pc:docMk/>
            <pc:sldMk cId="2599480837" sldId="4178"/>
            <ac:picMk id="80" creationId="{3DA89741-D18F-4233-8BCE-0FEF05286D10}"/>
          </ac:picMkLst>
        </pc:picChg>
        <pc:picChg chg="add del mod">
          <ac:chgData name="Michael E" userId="5cf36b76a1ed2b08" providerId="LiveId" clId="{53E7B0FC-B760-446C-8D8C-6B730CF1930F}" dt="2021-06-25T04:01:39.783" v="2494" actId="21"/>
          <ac:picMkLst>
            <pc:docMk/>
            <pc:sldMk cId="2599480837" sldId="4178"/>
            <ac:picMk id="81" creationId="{E1B3D627-2D5F-4F9E-9E2D-0D60053615D1}"/>
          </ac:picMkLst>
        </pc:picChg>
        <pc:picChg chg="add del mod">
          <ac:chgData name="Michael E" userId="5cf36b76a1ed2b08" providerId="LiveId" clId="{53E7B0FC-B760-446C-8D8C-6B730CF1930F}" dt="2021-06-25T04:01:43.892" v="2497" actId="21"/>
          <ac:picMkLst>
            <pc:docMk/>
            <pc:sldMk cId="2599480837" sldId="4178"/>
            <ac:picMk id="82" creationId="{9193401F-6A3B-468C-90A3-02216B8B7B14}"/>
          </ac:picMkLst>
        </pc:picChg>
        <pc:picChg chg="add del mod">
          <ac:chgData name="Michael E" userId="5cf36b76a1ed2b08" providerId="LiveId" clId="{53E7B0FC-B760-446C-8D8C-6B730CF1930F}" dt="2021-06-25T04:01:48.837" v="2501" actId="21"/>
          <ac:picMkLst>
            <pc:docMk/>
            <pc:sldMk cId="2599480837" sldId="4178"/>
            <ac:picMk id="83" creationId="{F440DC5A-0FFC-407E-9FA9-9E0C187BC8A7}"/>
          </ac:picMkLst>
        </pc:picChg>
        <pc:picChg chg="add del mod">
          <ac:chgData name="Michael E" userId="5cf36b76a1ed2b08" providerId="LiveId" clId="{53E7B0FC-B760-446C-8D8C-6B730CF1930F}" dt="2021-06-25T04:01:52.585" v="2503" actId="21"/>
          <ac:picMkLst>
            <pc:docMk/>
            <pc:sldMk cId="2599480837" sldId="4178"/>
            <ac:picMk id="84" creationId="{388CFF3D-C4E6-4789-9BA9-136C1BE4A4FB}"/>
          </ac:picMkLst>
        </pc:picChg>
        <pc:picChg chg="add del mod">
          <ac:chgData name="Michael E" userId="5cf36b76a1ed2b08" providerId="LiveId" clId="{53E7B0FC-B760-446C-8D8C-6B730CF1930F}" dt="2021-06-25T04:01:59.232" v="2507" actId="21"/>
          <ac:picMkLst>
            <pc:docMk/>
            <pc:sldMk cId="2599480837" sldId="4178"/>
            <ac:picMk id="85" creationId="{82332520-A59D-46AE-8DC6-531AD49363DD}"/>
          </ac:picMkLst>
        </pc:picChg>
        <pc:picChg chg="add del mod">
          <ac:chgData name="Michael E" userId="5cf36b76a1ed2b08" providerId="LiveId" clId="{53E7B0FC-B760-446C-8D8C-6B730CF1930F}" dt="2021-06-25T04:02:04.583" v="2510" actId="21"/>
          <ac:picMkLst>
            <pc:docMk/>
            <pc:sldMk cId="2599480837" sldId="4178"/>
            <ac:picMk id="86" creationId="{C7384681-0AD9-4A6C-8E84-D73215306CE2}"/>
          </ac:picMkLst>
        </pc:picChg>
        <pc:picChg chg="add del mod">
          <ac:chgData name="Michael E" userId="5cf36b76a1ed2b08" providerId="LiveId" clId="{53E7B0FC-B760-446C-8D8C-6B730CF1930F}" dt="2021-06-25T04:02:09.612" v="2513" actId="21"/>
          <ac:picMkLst>
            <pc:docMk/>
            <pc:sldMk cId="2599480837" sldId="4178"/>
            <ac:picMk id="87" creationId="{07636BEB-AABC-4E01-8A43-CCDAA917AFCE}"/>
          </ac:picMkLst>
        </pc:picChg>
      </pc:sldChg>
      <pc:sldChg chg="delSp modSp new del mod">
        <pc:chgData name="Michael E" userId="5cf36b76a1ed2b08" providerId="LiveId" clId="{53E7B0FC-B760-446C-8D8C-6B730CF1930F}" dt="2021-06-24T23:41:30.523" v="62" actId="47"/>
        <pc:sldMkLst>
          <pc:docMk/>
          <pc:sldMk cId="1900528853" sldId="4179"/>
        </pc:sldMkLst>
        <pc:spChg chg="mod">
          <ac:chgData name="Michael E" userId="5cf36b76a1ed2b08" providerId="LiveId" clId="{53E7B0FC-B760-446C-8D8C-6B730CF1930F}" dt="2021-06-24T23:27:46.269" v="57" actId="14100"/>
          <ac:spMkLst>
            <pc:docMk/>
            <pc:sldMk cId="1900528853" sldId="4179"/>
            <ac:spMk id="2" creationId="{6B7D4704-7C69-41E5-A47E-449974A95509}"/>
          </ac:spMkLst>
        </pc:spChg>
        <pc:spChg chg="del">
          <ac:chgData name="Michael E" userId="5cf36b76a1ed2b08" providerId="LiveId" clId="{53E7B0FC-B760-446C-8D8C-6B730CF1930F}" dt="2021-06-24T23:27:32.370" v="55" actId="478"/>
          <ac:spMkLst>
            <pc:docMk/>
            <pc:sldMk cId="1900528853" sldId="4179"/>
            <ac:spMk id="3" creationId="{547621FE-DE13-4DD0-8060-AE189034F832}"/>
          </ac:spMkLst>
        </pc:spChg>
      </pc:sldChg>
      <pc:sldChg chg="addSp delSp modSp add mod modTransition delAnim modAnim modNotesTx">
        <pc:chgData name="Michael E" userId="5cf36b76a1ed2b08" providerId="LiveId" clId="{53E7B0FC-B760-446C-8D8C-6B730CF1930F}" dt="2021-06-25T08:44:11.285" v="2744"/>
        <pc:sldMkLst>
          <pc:docMk/>
          <pc:sldMk cId="2155324364" sldId="4179"/>
        </pc:sldMkLst>
        <pc:spChg chg="add mod">
          <ac:chgData name="Michael E" userId="5cf36b76a1ed2b08" providerId="LiveId" clId="{53E7B0FC-B760-446C-8D8C-6B730CF1930F}" dt="2021-06-25T01:26:07.520" v="2271" actId="1035"/>
          <ac:spMkLst>
            <pc:docMk/>
            <pc:sldMk cId="2155324364" sldId="4179"/>
            <ac:spMk id="3" creationId="{8452A011-28E3-49B4-AC6F-854C9F1262A3}"/>
          </ac:spMkLst>
        </pc:spChg>
        <pc:spChg chg="add del mod">
          <ac:chgData name="Michael E" userId="5cf36b76a1ed2b08" providerId="LiveId" clId="{53E7B0FC-B760-446C-8D8C-6B730CF1930F}" dt="2021-06-25T06:24:10.661" v="2542" actId="478"/>
          <ac:spMkLst>
            <pc:docMk/>
            <pc:sldMk cId="2155324364" sldId="4179"/>
            <ac:spMk id="4" creationId="{D4D3B926-62B5-4B40-A8FA-52E8A0176B75}"/>
          </ac:spMkLst>
        </pc:spChg>
        <pc:spChg chg="add del mod">
          <ac:chgData name="Michael E" userId="5cf36b76a1ed2b08" providerId="LiveId" clId="{53E7B0FC-B760-446C-8D8C-6B730CF1930F}" dt="2021-06-25T06:24:10.661" v="2542" actId="478"/>
          <ac:spMkLst>
            <pc:docMk/>
            <pc:sldMk cId="2155324364" sldId="4179"/>
            <ac:spMk id="5" creationId="{53A7E79D-6CBC-44D1-9B7F-4FD4B1FC9D53}"/>
          </ac:spMkLst>
        </pc:spChg>
        <pc:spChg chg="add del mod">
          <ac:chgData name="Michael E" userId="5cf36b76a1ed2b08" providerId="LiveId" clId="{53E7B0FC-B760-446C-8D8C-6B730CF1930F}" dt="2021-06-25T06:24:10.661" v="2542" actId="478"/>
          <ac:spMkLst>
            <pc:docMk/>
            <pc:sldMk cId="2155324364" sldId="4179"/>
            <ac:spMk id="6" creationId="{936193C1-277C-4DFA-A1DC-32EECDF8BF87}"/>
          </ac:spMkLst>
        </pc:spChg>
        <pc:spChg chg="add del mod">
          <ac:chgData name="Michael E" userId="5cf36b76a1ed2b08" providerId="LiveId" clId="{53E7B0FC-B760-446C-8D8C-6B730CF1930F}" dt="2021-06-25T06:24:10.661" v="2542" actId="478"/>
          <ac:spMkLst>
            <pc:docMk/>
            <pc:sldMk cId="2155324364" sldId="4179"/>
            <ac:spMk id="7" creationId="{6313CA7F-F2B0-4D58-B96D-A884FCD949DA}"/>
          </ac:spMkLst>
        </pc:spChg>
        <pc:spChg chg="add del mod">
          <ac:chgData name="Michael E" userId="5cf36b76a1ed2b08" providerId="LiveId" clId="{53E7B0FC-B760-446C-8D8C-6B730CF1930F}" dt="2021-06-25T01:25:45.579" v="2256" actId="478"/>
          <ac:spMkLst>
            <pc:docMk/>
            <pc:sldMk cId="2155324364" sldId="4179"/>
            <ac:spMk id="10" creationId="{2EC3432F-8939-4DDF-BD74-C48627AFD020}"/>
          </ac:spMkLst>
        </pc:spChg>
        <pc:spChg chg="add del mod">
          <ac:chgData name="Michael E" userId="5cf36b76a1ed2b08" providerId="LiveId" clId="{53E7B0FC-B760-446C-8D8C-6B730CF1930F}" dt="2021-06-25T01:19:12.180" v="1638" actId="478"/>
          <ac:spMkLst>
            <pc:docMk/>
            <pc:sldMk cId="2155324364" sldId="4179"/>
            <ac:spMk id="11" creationId="{E0D90BD0-7CA7-4CD8-B152-073B766D7BCB}"/>
          </ac:spMkLst>
        </pc:spChg>
        <pc:spChg chg="add mod">
          <ac:chgData name="Michael E" userId="5cf36b76a1ed2b08" providerId="LiveId" clId="{53E7B0FC-B760-446C-8D8C-6B730CF1930F}" dt="2021-06-25T01:36:45.904" v="2419" actId="1038"/>
          <ac:spMkLst>
            <pc:docMk/>
            <pc:sldMk cId="2155324364" sldId="4179"/>
            <ac:spMk id="12" creationId="{B7AC6AE1-4A16-4358-A16D-DD4EC574D72B}"/>
          </ac:spMkLst>
        </pc:spChg>
        <pc:spChg chg="mod">
          <ac:chgData name="Michael E" userId="5cf36b76a1ed2b08" providerId="LiveId" clId="{53E7B0FC-B760-446C-8D8C-6B730CF1930F}" dt="2021-06-25T00:55:46.018" v="1400"/>
          <ac:spMkLst>
            <pc:docMk/>
            <pc:sldMk cId="2155324364" sldId="4179"/>
            <ac:spMk id="14" creationId="{D8BBDC51-D793-4119-B3F5-D4E0C9876515}"/>
          </ac:spMkLst>
        </pc:spChg>
        <pc:spChg chg="add del mod">
          <ac:chgData name="Michael E" userId="5cf36b76a1ed2b08" providerId="LiveId" clId="{53E7B0FC-B760-446C-8D8C-6B730CF1930F}" dt="2021-06-25T01:25:45.579" v="2256" actId="478"/>
          <ac:spMkLst>
            <pc:docMk/>
            <pc:sldMk cId="2155324364" sldId="4179"/>
            <ac:spMk id="16" creationId="{E11AF1B6-4FBD-4B48-86E5-116BE5EFD3C3}"/>
          </ac:spMkLst>
        </pc:spChg>
        <pc:spChg chg="add mod">
          <ac:chgData name="Michael E" userId="5cf36b76a1ed2b08" providerId="LiveId" clId="{53E7B0FC-B760-446C-8D8C-6B730CF1930F}" dt="2021-06-25T01:36:45.904" v="2419" actId="1038"/>
          <ac:spMkLst>
            <pc:docMk/>
            <pc:sldMk cId="2155324364" sldId="4179"/>
            <ac:spMk id="17" creationId="{28D84B01-74FB-4C31-9BF8-D0F1617AE9FA}"/>
          </ac:spMkLst>
        </pc:spChg>
        <pc:spChg chg="add mod">
          <ac:chgData name="Michael E" userId="5cf36b76a1ed2b08" providerId="LiveId" clId="{53E7B0FC-B760-446C-8D8C-6B730CF1930F}" dt="2021-06-25T01:32:08.878" v="2324" actId="164"/>
          <ac:spMkLst>
            <pc:docMk/>
            <pc:sldMk cId="2155324364" sldId="4179"/>
            <ac:spMk id="18" creationId="{5EF39464-E8CF-4618-8ABB-0A449FEA8318}"/>
          </ac:spMkLst>
        </pc:spChg>
        <pc:spChg chg="add mod">
          <ac:chgData name="Michael E" userId="5cf36b76a1ed2b08" providerId="LiveId" clId="{53E7B0FC-B760-446C-8D8C-6B730CF1930F}" dt="2021-06-25T01:36:45.904" v="2419" actId="1038"/>
          <ac:spMkLst>
            <pc:docMk/>
            <pc:sldMk cId="2155324364" sldId="4179"/>
            <ac:spMk id="19" creationId="{8AEEA487-EE24-4059-956D-E878CF0D8247}"/>
          </ac:spMkLst>
        </pc:spChg>
        <pc:spChg chg="add del mod">
          <ac:chgData name="Michael E" userId="5cf36b76a1ed2b08" providerId="LiveId" clId="{53E7B0FC-B760-446C-8D8C-6B730CF1930F}" dt="2021-06-25T06:26:54.706" v="2572" actId="478"/>
          <ac:spMkLst>
            <pc:docMk/>
            <pc:sldMk cId="2155324364" sldId="4179"/>
            <ac:spMk id="20" creationId="{DB18C080-93D3-4CD1-9D24-950E8925A9C7}"/>
          </ac:spMkLst>
        </pc:spChg>
        <pc:spChg chg="add del mod">
          <ac:chgData name="Michael E" userId="5cf36b76a1ed2b08" providerId="LiveId" clId="{53E7B0FC-B760-446C-8D8C-6B730CF1930F}" dt="2021-06-25T06:27:16.832" v="2576" actId="478"/>
          <ac:spMkLst>
            <pc:docMk/>
            <pc:sldMk cId="2155324364" sldId="4179"/>
            <ac:spMk id="21" creationId="{B2E75AFC-0A24-4011-B57A-E7DD3D1009FA}"/>
          </ac:spMkLst>
        </pc:spChg>
        <pc:spChg chg="add mod">
          <ac:chgData name="Michael E" userId="5cf36b76a1ed2b08" providerId="LiveId" clId="{53E7B0FC-B760-446C-8D8C-6B730CF1930F}" dt="2021-06-25T01:26:07.520" v="2271" actId="1035"/>
          <ac:spMkLst>
            <pc:docMk/>
            <pc:sldMk cId="2155324364" sldId="4179"/>
            <ac:spMk id="22" creationId="{71809B9B-0A5A-4B92-8612-B6215E724D1C}"/>
          </ac:spMkLst>
        </pc:spChg>
        <pc:spChg chg="add del mod">
          <ac:chgData name="Michael E" userId="5cf36b76a1ed2b08" providerId="LiveId" clId="{53E7B0FC-B760-446C-8D8C-6B730CF1930F}" dt="2021-06-25T06:27:26.821" v="2580" actId="478"/>
          <ac:spMkLst>
            <pc:docMk/>
            <pc:sldMk cId="2155324364" sldId="4179"/>
            <ac:spMk id="23" creationId="{0FB16219-0BB5-4E96-9AA2-69EE5CCC4838}"/>
          </ac:spMkLst>
        </pc:spChg>
        <pc:spChg chg="add del mod">
          <ac:chgData name="Michael E" userId="5cf36b76a1ed2b08" providerId="LiveId" clId="{53E7B0FC-B760-446C-8D8C-6B730CF1930F}" dt="2021-06-25T01:35:37.817" v="2350" actId="478"/>
          <ac:spMkLst>
            <pc:docMk/>
            <pc:sldMk cId="2155324364" sldId="4179"/>
            <ac:spMk id="24" creationId="{9DBB7E8C-0025-443D-AFBA-AB9C20C3B815}"/>
          </ac:spMkLst>
        </pc:spChg>
        <pc:spChg chg="add mod">
          <ac:chgData name="Michael E" userId="5cf36b76a1ed2b08" providerId="LiveId" clId="{53E7B0FC-B760-446C-8D8C-6B730CF1930F}" dt="2021-06-25T01:36:45.904" v="2419" actId="1038"/>
          <ac:spMkLst>
            <pc:docMk/>
            <pc:sldMk cId="2155324364" sldId="4179"/>
            <ac:spMk id="26" creationId="{1DB5536B-449C-467C-BA71-908947CF79E4}"/>
          </ac:spMkLst>
        </pc:spChg>
        <pc:spChg chg="mod">
          <ac:chgData name="Michael E" userId="5cf36b76a1ed2b08" providerId="LiveId" clId="{53E7B0FC-B760-446C-8D8C-6B730CF1930F}" dt="2021-06-25T01:25:34.137" v="2254" actId="20577"/>
          <ac:spMkLst>
            <pc:docMk/>
            <pc:sldMk cId="2155324364" sldId="4179"/>
            <ac:spMk id="28" creationId="{7CF54CEE-2865-4151-AA1B-BFD24313D6E3}"/>
          </ac:spMkLst>
        </pc:spChg>
        <pc:spChg chg="add del mod">
          <ac:chgData name="Michael E" userId="5cf36b76a1ed2b08" providerId="LiveId" clId="{53E7B0FC-B760-446C-8D8C-6B730CF1930F}" dt="2021-06-25T01:38:22.739" v="2459" actId="478"/>
          <ac:spMkLst>
            <pc:docMk/>
            <pc:sldMk cId="2155324364" sldId="4179"/>
            <ac:spMk id="37" creationId="{031FD337-9AA0-4B67-A88D-0FEF80AB9E70}"/>
          </ac:spMkLst>
        </pc:spChg>
        <pc:spChg chg="add del mod">
          <ac:chgData name="Michael E" userId="5cf36b76a1ed2b08" providerId="LiveId" clId="{53E7B0FC-B760-446C-8D8C-6B730CF1930F}" dt="2021-06-25T01:38:04.549" v="2456" actId="478"/>
          <ac:spMkLst>
            <pc:docMk/>
            <pc:sldMk cId="2155324364" sldId="4179"/>
            <ac:spMk id="38" creationId="{E056D0E2-803C-4D06-86F5-170761C2B15D}"/>
          </ac:spMkLst>
        </pc:spChg>
        <pc:spChg chg="add mod">
          <ac:chgData name="Michael E" userId="5cf36b76a1ed2b08" providerId="LiveId" clId="{53E7B0FC-B760-446C-8D8C-6B730CF1930F}" dt="2021-06-25T01:38:04.813" v="2457"/>
          <ac:spMkLst>
            <pc:docMk/>
            <pc:sldMk cId="2155324364" sldId="4179"/>
            <ac:spMk id="39" creationId="{2DE50DEE-8C4A-48BC-8EAF-14FB6755C2E4}"/>
          </ac:spMkLst>
        </pc:spChg>
        <pc:spChg chg="add mod">
          <ac:chgData name="Michael E" userId="5cf36b76a1ed2b08" providerId="LiveId" clId="{53E7B0FC-B760-446C-8D8C-6B730CF1930F}" dt="2021-06-25T01:38:22.958" v="2460"/>
          <ac:spMkLst>
            <pc:docMk/>
            <pc:sldMk cId="2155324364" sldId="4179"/>
            <ac:spMk id="40" creationId="{FAFD7393-6F0F-409E-B44B-06B970C67614}"/>
          </ac:spMkLst>
        </pc:spChg>
        <pc:spChg chg="add mod">
          <ac:chgData name="Michael E" userId="5cf36b76a1ed2b08" providerId="LiveId" clId="{53E7B0FC-B760-446C-8D8C-6B730CF1930F}" dt="2021-06-25T06:24:10.905" v="2543"/>
          <ac:spMkLst>
            <pc:docMk/>
            <pc:sldMk cId="2155324364" sldId="4179"/>
            <ac:spMk id="41" creationId="{6873EC13-5EC8-4ED9-8ABA-714220AA5CCB}"/>
          </ac:spMkLst>
        </pc:spChg>
        <pc:spChg chg="add mod">
          <ac:chgData name="Michael E" userId="5cf36b76a1ed2b08" providerId="LiveId" clId="{53E7B0FC-B760-446C-8D8C-6B730CF1930F}" dt="2021-06-25T06:24:10.905" v="2543"/>
          <ac:spMkLst>
            <pc:docMk/>
            <pc:sldMk cId="2155324364" sldId="4179"/>
            <ac:spMk id="42" creationId="{2ECDF382-78F4-4A92-A92F-B7DE8FC74A7D}"/>
          </ac:spMkLst>
        </pc:spChg>
        <pc:spChg chg="add mod">
          <ac:chgData name="Michael E" userId="5cf36b76a1ed2b08" providerId="LiveId" clId="{53E7B0FC-B760-446C-8D8C-6B730CF1930F}" dt="2021-06-25T06:24:10.905" v="2543"/>
          <ac:spMkLst>
            <pc:docMk/>
            <pc:sldMk cId="2155324364" sldId="4179"/>
            <ac:spMk id="43" creationId="{BF8C4CC8-E7EE-49B6-92B3-74D82235AE4D}"/>
          </ac:spMkLst>
        </pc:spChg>
        <pc:spChg chg="add mod">
          <ac:chgData name="Michael E" userId="5cf36b76a1ed2b08" providerId="LiveId" clId="{53E7B0FC-B760-446C-8D8C-6B730CF1930F}" dt="2021-06-25T06:24:10.905" v="2543"/>
          <ac:spMkLst>
            <pc:docMk/>
            <pc:sldMk cId="2155324364" sldId="4179"/>
            <ac:spMk id="44" creationId="{3BB99F9A-2B37-4197-8F86-90F4B5DEF3E0}"/>
          </ac:spMkLst>
        </pc:spChg>
        <pc:spChg chg="add mod">
          <ac:chgData name="Michael E" userId="5cf36b76a1ed2b08" providerId="LiveId" clId="{53E7B0FC-B760-446C-8D8C-6B730CF1930F}" dt="2021-06-25T06:26:55.005" v="2573"/>
          <ac:spMkLst>
            <pc:docMk/>
            <pc:sldMk cId="2155324364" sldId="4179"/>
            <ac:spMk id="45" creationId="{79D82B75-49C3-4218-B80A-DD67ACE8D0C3}"/>
          </ac:spMkLst>
        </pc:spChg>
        <pc:spChg chg="add mod">
          <ac:chgData name="Michael E" userId="5cf36b76a1ed2b08" providerId="LiveId" clId="{53E7B0FC-B760-446C-8D8C-6B730CF1930F}" dt="2021-06-25T06:27:17.029" v="2577"/>
          <ac:spMkLst>
            <pc:docMk/>
            <pc:sldMk cId="2155324364" sldId="4179"/>
            <ac:spMk id="46" creationId="{36DC3F42-16BB-4248-9FA4-7F30F95A3AB8}"/>
          </ac:spMkLst>
        </pc:spChg>
        <pc:spChg chg="add mod">
          <ac:chgData name="Michael E" userId="5cf36b76a1ed2b08" providerId="LiveId" clId="{53E7B0FC-B760-446C-8D8C-6B730CF1930F}" dt="2021-06-25T06:27:27.048" v="2581"/>
          <ac:spMkLst>
            <pc:docMk/>
            <pc:sldMk cId="2155324364" sldId="4179"/>
            <ac:spMk id="47" creationId="{202E4247-EBBA-4647-A132-2283052B725E}"/>
          </ac:spMkLst>
        </pc:spChg>
        <pc:grpChg chg="add del mod">
          <ac:chgData name="Michael E" userId="5cf36b76a1ed2b08" providerId="LiveId" clId="{53E7B0FC-B760-446C-8D8C-6B730CF1930F}" dt="2021-06-25T00:56:00.225" v="1403" actId="478"/>
          <ac:grpSpMkLst>
            <pc:docMk/>
            <pc:sldMk cId="2155324364" sldId="4179"/>
            <ac:grpSpMk id="13" creationId="{E9624F24-A119-4FC4-80DD-DA6178EE6D8A}"/>
          </ac:grpSpMkLst>
        </pc:grpChg>
        <pc:grpChg chg="add mod">
          <ac:chgData name="Michael E" userId="5cf36b76a1ed2b08" providerId="LiveId" clId="{53E7B0FC-B760-446C-8D8C-6B730CF1930F}" dt="2021-06-25T01:36:45.904" v="2419" actId="1038"/>
          <ac:grpSpMkLst>
            <pc:docMk/>
            <pc:sldMk cId="2155324364" sldId="4179"/>
            <ac:grpSpMk id="27" creationId="{5C6437CE-7AA4-4056-9B8F-04B21A1E7E43}"/>
          </ac:grpSpMkLst>
        </pc:grpChg>
        <pc:grpChg chg="add mod ord">
          <ac:chgData name="Michael E" userId="5cf36b76a1ed2b08" providerId="LiveId" clId="{53E7B0FC-B760-446C-8D8C-6B730CF1930F}" dt="2021-06-25T01:36:45.904" v="2419" actId="1038"/>
          <ac:grpSpMkLst>
            <pc:docMk/>
            <pc:sldMk cId="2155324364" sldId="4179"/>
            <ac:grpSpMk id="36" creationId="{AE2CD6A5-51A2-4764-ABD9-1610F1B33236}"/>
          </ac:grpSpMkLst>
        </pc:grpChg>
        <pc:picChg chg="del mod">
          <ac:chgData name="Michael E" userId="5cf36b76a1ed2b08" providerId="LiveId" clId="{53E7B0FC-B760-446C-8D8C-6B730CF1930F}" dt="2021-06-24T23:47:01.724" v="292" actId="478"/>
          <ac:picMkLst>
            <pc:docMk/>
            <pc:sldMk cId="2155324364" sldId="4179"/>
            <ac:picMk id="8" creationId="{DA4F5BE1-C150-478F-AC13-6C1D2F602D8F}"/>
          </ac:picMkLst>
        </pc:picChg>
        <pc:picChg chg="add del mod">
          <ac:chgData name="Michael E" userId="5cf36b76a1ed2b08" providerId="LiveId" clId="{53E7B0FC-B760-446C-8D8C-6B730CF1930F}" dt="2021-06-25T00:57:17.796" v="1404" actId="478"/>
          <ac:picMkLst>
            <pc:docMk/>
            <pc:sldMk cId="2155324364" sldId="4179"/>
            <ac:picMk id="9" creationId="{8CE10B6C-0EB3-4E81-A913-42CCBA7337C2}"/>
          </ac:picMkLst>
        </pc:picChg>
        <pc:picChg chg="mod">
          <ac:chgData name="Michael E" userId="5cf36b76a1ed2b08" providerId="LiveId" clId="{53E7B0FC-B760-446C-8D8C-6B730CF1930F}" dt="2021-06-25T00:55:46.018" v="1400"/>
          <ac:picMkLst>
            <pc:docMk/>
            <pc:sldMk cId="2155324364" sldId="4179"/>
            <ac:picMk id="15" creationId="{11F4760A-3C6B-4027-B366-84633EFCEADA}"/>
          </ac:picMkLst>
        </pc:picChg>
        <pc:picChg chg="add mod ord">
          <ac:chgData name="Michael E" userId="5cf36b76a1ed2b08" providerId="LiveId" clId="{53E7B0FC-B760-446C-8D8C-6B730CF1930F}" dt="2021-06-25T01:36:45.904" v="2419" actId="1038"/>
          <ac:picMkLst>
            <pc:docMk/>
            <pc:sldMk cId="2155324364" sldId="4179"/>
            <ac:picMk id="25" creationId="{AFFF0711-CB7A-4388-AFE0-04209DBEB3B7}"/>
          </ac:picMkLst>
        </pc:picChg>
        <pc:picChg chg="mod">
          <ac:chgData name="Michael E" userId="5cf36b76a1ed2b08" providerId="LiveId" clId="{53E7B0FC-B760-446C-8D8C-6B730CF1930F}" dt="2021-06-25T01:18:40.693" v="1636"/>
          <ac:picMkLst>
            <pc:docMk/>
            <pc:sldMk cId="2155324364" sldId="4179"/>
            <ac:picMk id="29" creationId="{6EFD2654-5058-4AC7-BC69-6102C5D309B0}"/>
          </ac:picMkLst>
        </pc:picChg>
        <pc:picChg chg="add del mod">
          <ac:chgData name="Michael E" userId="5cf36b76a1ed2b08" providerId="LiveId" clId="{53E7B0FC-B760-446C-8D8C-6B730CF1930F}" dt="2021-06-25T01:30:58.325" v="2311" actId="21"/>
          <ac:picMkLst>
            <pc:docMk/>
            <pc:sldMk cId="2155324364" sldId="4179"/>
            <ac:picMk id="30" creationId="{3CF94EA0-7B83-4054-836F-688A7B46C883}"/>
          </ac:picMkLst>
        </pc:picChg>
        <pc:picChg chg="add del mod">
          <ac:chgData name="Michael E" userId="5cf36b76a1ed2b08" providerId="LiveId" clId="{53E7B0FC-B760-446C-8D8C-6B730CF1930F}" dt="2021-06-25T01:31:10.971" v="2314" actId="21"/>
          <ac:picMkLst>
            <pc:docMk/>
            <pc:sldMk cId="2155324364" sldId="4179"/>
            <ac:picMk id="31" creationId="{77EB8C98-9A71-4816-AA12-408372F7D58E}"/>
          </ac:picMkLst>
        </pc:picChg>
        <pc:picChg chg="add del mod">
          <ac:chgData name="Michael E" userId="5cf36b76a1ed2b08" providerId="LiveId" clId="{53E7B0FC-B760-446C-8D8C-6B730CF1930F}" dt="2021-06-25T01:31:14.606" v="2316" actId="21"/>
          <ac:picMkLst>
            <pc:docMk/>
            <pc:sldMk cId="2155324364" sldId="4179"/>
            <ac:picMk id="32" creationId="{E2E4685A-B4E6-43D8-A620-058AA3382B59}"/>
          </ac:picMkLst>
        </pc:picChg>
        <pc:picChg chg="add del mod">
          <ac:chgData name="Michael E" userId="5cf36b76a1ed2b08" providerId="LiveId" clId="{53E7B0FC-B760-446C-8D8C-6B730CF1930F}" dt="2021-06-25T01:31:15.590" v="2318" actId="21"/>
          <ac:picMkLst>
            <pc:docMk/>
            <pc:sldMk cId="2155324364" sldId="4179"/>
            <ac:picMk id="33" creationId="{C0A0A687-57D2-4C50-B04E-08CC7E96C1C8}"/>
          </ac:picMkLst>
        </pc:picChg>
        <pc:picChg chg="add del mod">
          <ac:chgData name="Michael E" userId="5cf36b76a1ed2b08" providerId="LiveId" clId="{53E7B0FC-B760-446C-8D8C-6B730CF1930F}" dt="2021-06-25T01:31:16.581" v="2320" actId="21"/>
          <ac:picMkLst>
            <pc:docMk/>
            <pc:sldMk cId="2155324364" sldId="4179"/>
            <ac:picMk id="34" creationId="{FB50D2C4-91E3-442B-A8FF-5B9DD88F2254}"/>
          </ac:picMkLst>
        </pc:picChg>
        <pc:picChg chg="add mod ord">
          <ac:chgData name="Michael E" userId="5cf36b76a1ed2b08" providerId="LiveId" clId="{53E7B0FC-B760-446C-8D8C-6B730CF1930F}" dt="2021-06-25T01:32:08.878" v="2324" actId="164"/>
          <ac:picMkLst>
            <pc:docMk/>
            <pc:sldMk cId="2155324364" sldId="4179"/>
            <ac:picMk id="35" creationId="{3EE88F74-7E79-4DC2-BE80-0B9051B07EFD}"/>
          </ac:picMkLst>
        </pc:picChg>
      </pc:sldChg>
      <pc:sldChg chg="addSp delSp modSp add mod modTransition delAnim modAnim">
        <pc:chgData name="Michael E" userId="5cf36b76a1ed2b08" providerId="LiveId" clId="{53E7B0FC-B760-446C-8D8C-6B730CF1930F}" dt="2021-06-25T08:54:08.134" v="3726" actId="20577"/>
        <pc:sldMkLst>
          <pc:docMk/>
          <pc:sldMk cId="2402903866" sldId="4180"/>
        </pc:sldMkLst>
        <pc:spChg chg="del">
          <ac:chgData name="Michael E" userId="5cf36b76a1ed2b08" providerId="LiveId" clId="{53E7B0FC-B760-446C-8D8C-6B730CF1930F}" dt="2021-06-25T06:24:14.996" v="2544" actId="478"/>
          <ac:spMkLst>
            <pc:docMk/>
            <pc:sldMk cId="2402903866" sldId="4180"/>
            <ac:spMk id="4" creationId="{D4D3B926-62B5-4B40-A8FA-52E8A0176B75}"/>
          </ac:spMkLst>
        </pc:spChg>
        <pc:spChg chg="del">
          <ac:chgData name="Michael E" userId="5cf36b76a1ed2b08" providerId="LiveId" clId="{53E7B0FC-B760-446C-8D8C-6B730CF1930F}" dt="2021-06-25T06:24:14.996" v="2544" actId="478"/>
          <ac:spMkLst>
            <pc:docMk/>
            <pc:sldMk cId="2402903866" sldId="4180"/>
            <ac:spMk id="5" creationId="{53A7E79D-6CBC-44D1-9B7F-4FD4B1FC9D53}"/>
          </ac:spMkLst>
        </pc:spChg>
        <pc:spChg chg="del">
          <ac:chgData name="Michael E" userId="5cf36b76a1ed2b08" providerId="LiveId" clId="{53E7B0FC-B760-446C-8D8C-6B730CF1930F}" dt="2021-06-25T06:24:14.996" v="2544" actId="478"/>
          <ac:spMkLst>
            <pc:docMk/>
            <pc:sldMk cId="2402903866" sldId="4180"/>
            <ac:spMk id="6" creationId="{936193C1-277C-4DFA-A1DC-32EECDF8BF87}"/>
          </ac:spMkLst>
        </pc:spChg>
        <pc:spChg chg="del">
          <ac:chgData name="Michael E" userId="5cf36b76a1ed2b08" providerId="LiveId" clId="{53E7B0FC-B760-446C-8D8C-6B730CF1930F}" dt="2021-06-25T06:24:14.996" v="2544" actId="478"/>
          <ac:spMkLst>
            <pc:docMk/>
            <pc:sldMk cId="2402903866" sldId="4180"/>
            <ac:spMk id="7" creationId="{6313CA7F-F2B0-4D58-B96D-A884FCD949DA}"/>
          </ac:spMkLst>
        </pc:spChg>
        <pc:spChg chg="del">
          <ac:chgData name="Michael E" userId="5cf36b76a1ed2b08" providerId="LiveId" clId="{53E7B0FC-B760-446C-8D8C-6B730CF1930F}" dt="2021-06-25T01:26:49.957" v="2289" actId="478"/>
          <ac:spMkLst>
            <pc:docMk/>
            <pc:sldMk cId="2402903866" sldId="4180"/>
            <ac:spMk id="12" creationId="{B7AC6AE1-4A16-4358-A16D-DD4EC574D72B}"/>
          </ac:spMkLst>
        </pc:spChg>
        <pc:spChg chg="add mod">
          <ac:chgData name="Michael E" userId="5cf36b76a1ed2b08" providerId="LiveId" clId="{53E7B0FC-B760-446C-8D8C-6B730CF1930F}" dt="2021-06-25T08:45:58.621" v="2892" actId="20577"/>
          <ac:spMkLst>
            <pc:docMk/>
            <pc:sldMk cId="2402903866" sldId="4180"/>
            <ac:spMk id="14" creationId="{9DA0976C-9FFE-4FAD-A948-0A43AD793AF6}"/>
          </ac:spMkLst>
        </pc:spChg>
        <pc:spChg chg="add mod">
          <ac:chgData name="Michael E" userId="5cf36b76a1ed2b08" providerId="LiveId" clId="{53E7B0FC-B760-446C-8D8C-6B730CF1930F}" dt="2021-06-25T08:44:30.339" v="2746" actId="1076"/>
          <ac:spMkLst>
            <pc:docMk/>
            <pc:sldMk cId="2402903866" sldId="4180"/>
            <ac:spMk id="15" creationId="{81B29C03-D0FA-4D4E-AA02-6323A154A5DD}"/>
          </ac:spMkLst>
        </pc:spChg>
        <pc:spChg chg="add mod">
          <ac:chgData name="Michael E" userId="5cf36b76a1ed2b08" providerId="LiveId" clId="{53E7B0FC-B760-446C-8D8C-6B730CF1930F}" dt="2021-06-25T08:47:15.929" v="3051" actId="20577"/>
          <ac:spMkLst>
            <pc:docMk/>
            <pc:sldMk cId="2402903866" sldId="4180"/>
            <ac:spMk id="16" creationId="{C401F813-CD49-4D57-8B66-51D910FBB428}"/>
          </ac:spMkLst>
        </pc:spChg>
        <pc:spChg chg="del">
          <ac:chgData name="Michael E" userId="5cf36b76a1ed2b08" providerId="LiveId" clId="{53E7B0FC-B760-446C-8D8C-6B730CF1930F}" dt="2021-06-25T01:26:49.957" v="2289" actId="478"/>
          <ac:spMkLst>
            <pc:docMk/>
            <pc:sldMk cId="2402903866" sldId="4180"/>
            <ac:spMk id="17" creationId="{28D84B01-74FB-4C31-9BF8-D0F1617AE9FA}"/>
          </ac:spMkLst>
        </pc:spChg>
        <pc:spChg chg="add mod">
          <ac:chgData name="Michael E" userId="5cf36b76a1ed2b08" providerId="LiveId" clId="{53E7B0FC-B760-446C-8D8C-6B730CF1930F}" dt="2021-06-25T08:46:12.507" v="2895" actId="20577"/>
          <ac:spMkLst>
            <pc:docMk/>
            <pc:sldMk cId="2402903866" sldId="4180"/>
            <ac:spMk id="17" creationId="{CA870C0C-3CAD-4518-8166-30A3FCC909E7}"/>
          </ac:spMkLst>
        </pc:spChg>
        <pc:spChg chg="del">
          <ac:chgData name="Michael E" userId="5cf36b76a1ed2b08" providerId="LiveId" clId="{53E7B0FC-B760-446C-8D8C-6B730CF1930F}" dt="2021-06-25T01:26:49.957" v="2289" actId="478"/>
          <ac:spMkLst>
            <pc:docMk/>
            <pc:sldMk cId="2402903866" sldId="4180"/>
            <ac:spMk id="18" creationId="{5EF39464-E8CF-4618-8ABB-0A449FEA8318}"/>
          </ac:spMkLst>
        </pc:spChg>
        <pc:spChg chg="add mod">
          <ac:chgData name="Michael E" userId="5cf36b76a1ed2b08" providerId="LiveId" clId="{53E7B0FC-B760-446C-8D8C-6B730CF1930F}" dt="2021-06-25T08:52:19.401" v="3542" actId="20577"/>
          <ac:spMkLst>
            <pc:docMk/>
            <pc:sldMk cId="2402903866" sldId="4180"/>
            <ac:spMk id="18" creationId="{6296947D-3D1E-4B17-B09E-A8140622CF9B}"/>
          </ac:spMkLst>
        </pc:spChg>
        <pc:spChg chg="del">
          <ac:chgData name="Michael E" userId="5cf36b76a1ed2b08" providerId="LiveId" clId="{53E7B0FC-B760-446C-8D8C-6B730CF1930F}" dt="2021-06-25T01:26:49.957" v="2289" actId="478"/>
          <ac:spMkLst>
            <pc:docMk/>
            <pc:sldMk cId="2402903866" sldId="4180"/>
            <ac:spMk id="19" creationId="{8AEEA487-EE24-4059-956D-E878CF0D8247}"/>
          </ac:spMkLst>
        </pc:spChg>
        <pc:spChg chg="add mod">
          <ac:chgData name="Michael E" userId="5cf36b76a1ed2b08" providerId="LiveId" clId="{53E7B0FC-B760-446C-8D8C-6B730CF1930F}" dt="2021-06-25T08:47:24.977" v="3054" actId="20577"/>
          <ac:spMkLst>
            <pc:docMk/>
            <pc:sldMk cId="2402903866" sldId="4180"/>
            <ac:spMk id="19" creationId="{D26D798A-D003-4825-AE47-958ABB42B394}"/>
          </ac:spMkLst>
        </pc:spChg>
        <pc:spChg chg="add mod">
          <ac:chgData name="Michael E" userId="5cf36b76a1ed2b08" providerId="LiveId" clId="{53E7B0FC-B760-446C-8D8C-6B730CF1930F}" dt="2021-06-25T08:51:30.274" v="3510" actId="1076"/>
          <ac:spMkLst>
            <pc:docMk/>
            <pc:sldMk cId="2402903866" sldId="4180"/>
            <ac:spMk id="20" creationId="{6E9D749E-1E78-4FA2-9892-99DA389131F5}"/>
          </ac:spMkLst>
        </pc:spChg>
        <pc:spChg chg="del">
          <ac:chgData name="Michael E" userId="5cf36b76a1ed2b08" providerId="LiveId" clId="{53E7B0FC-B760-446C-8D8C-6B730CF1930F}" dt="2021-06-25T06:26:47.493" v="2570" actId="478"/>
          <ac:spMkLst>
            <pc:docMk/>
            <pc:sldMk cId="2402903866" sldId="4180"/>
            <ac:spMk id="20" creationId="{DB18C080-93D3-4CD1-9D24-950E8925A9C7}"/>
          </ac:spMkLst>
        </pc:spChg>
        <pc:spChg chg="add mod">
          <ac:chgData name="Michael E" userId="5cf36b76a1ed2b08" providerId="LiveId" clId="{53E7B0FC-B760-446C-8D8C-6B730CF1930F}" dt="2021-06-25T08:54:04.063" v="3725" actId="20577"/>
          <ac:spMkLst>
            <pc:docMk/>
            <pc:sldMk cId="2402903866" sldId="4180"/>
            <ac:spMk id="21" creationId="{5DA298F0-691B-40E8-921E-6B227535BCF1}"/>
          </ac:spMkLst>
        </pc:spChg>
        <pc:spChg chg="del">
          <ac:chgData name="Michael E" userId="5cf36b76a1ed2b08" providerId="LiveId" clId="{53E7B0FC-B760-446C-8D8C-6B730CF1930F}" dt="2021-06-25T06:27:20.328" v="2578" actId="478"/>
          <ac:spMkLst>
            <pc:docMk/>
            <pc:sldMk cId="2402903866" sldId="4180"/>
            <ac:spMk id="21" creationId="{B2E75AFC-0A24-4011-B57A-E7DD3D1009FA}"/>
          </ac:spMkLst>
        </pc:spChg>
        <pc:spChg chg="add mod">
          <ac:chgData name="Michael E" userId="5cf36b76a1ed2b08" providerId="LiveId" clId="{53E7B0FC-B760-446C-8D8C-6B730CF1930F}" dt="2021-06-25T08:52:54.847" v="3587" actId="1036"/>
          <ac:spMkLst>
            <pc:docMk/>
            <pc:sldMk cId="2402903866" sldId="4180"/>
            <ac:spMk id="22" creationId="{1F091637-5B8E-4625-894D-2AC93FCE3D70}"/>
          </ac:spMkLst>
        </pc:spChg>
        <pc:spChg chg="del mod">
          <ac:chgData name="Michael E" userId="5cf36b76a1ed2b08" providerId="LiveId" clId="{53E7B0FC-B760-446C-8D8C-6B730CF1930F}" dt="2021-06-25T06:26:27.577" v="2565" actId="478"/>
          <ac:spMkLst>
            <pc:docMk/>
            <pc:sldMk cId="2402903866" sldId="4180"/>
            <ac:spMk id="22" creationId="{71809B9B-0A5A-4B92-8612-B6215E724D1C}"/>
          </ac:spMkLst>
        </pc:spChg>
        <pc:spChg chg="mod">
          <ac:chgData name="Michael E" userId="5cf36b76a1ed2b08" providerId="LiveId" clId="{53E7B0FC-B760-446C-8D8C-6B730CF1930F}" dt="2021-06-25T01:27:12.081" v="2293" actId="108"/>
          <ac:spMkLst>
            <pc:docMk/>
            <pc:sldMk cId="2402903866" sldId="4180"/>
            <ac:spMk id="23" creationId="{0FB16219-0BB5-4E96-9AA2-69EE5CCC4838}"/>
          </ac:spMkLst>
        </pc:spChg>
        <pc:spChg chg="add mod">
          <ac:chgData name="Michael E" userId="5cf36b76a1ed2b08" providerId="LiveId" clId="{53E7B0FC-B760-446C-8D8C-6B730CF1930F}" dt="2021-06-25T08:54:08.134" v="3726" actId="20577"/>
          <ac:spMkLst>
            <pc:docMk/>
            <pc:sldMk cId="2402903866" sldId="4180"/>
            <ac:spMk id="24" creationId="{55BE8CCB-050F-4199-A57C-77E1EE75BA2A}"/>
          </ac:spMkLst>
        </pc:spChg>
        <pc:spChg chg="del mod">
          <ac:chgData name="Michael E" userId="5cf36b76a1ed2b08" providerId="LiveId" clId="{53E7B0FC-B760-446C-8D8C-6B730CF1930F}" dt="2021-06-25T01:37:26.095" v="2448" actId="478"/>
          <ac:spMkLst>
            <pc:docMk/>
            <pc:sldMk cId="2402903866" sldId="4180"/>
            <ac:spMk id="24" creationId="{9DBB7E8C-0025-443D-AFBA-AB9C20C3B815}"/>
          </ac:spMkLst>
        </pc:spChg>
        <pc:spChg chg="add mod">
          <ac:chgData name="Michael E" userId="5cf36b76a1ed2b08" providerId="LiveId" clId="{53E7B0FC-B760-446C-8D8C-6B730CF1930F}" dt="2021-06-25T08:53:56.068" v="3724" actId="20577"/>
          <ac:spMkLst>
            <pc:docMk/>
            <pc:sldMk cId="2402903866" sldId="4180"/>
            <ac:spMk id="25" creationId="{942C557E-8A8E-42E8-8243-A369798A5C2D}"/>
          </ac:spMkLst>
        </pc:spChg>
        <pc:spChg chg="del">
          <ac:chgData name="Michael E" userId="5cf36b76a1ed2b08" providerId="LiveId" clId="{53E7B0FC-B760-446C-8D8C-6B730CF1930F}" dt="2021-06-25T01:26:49.957" v="2289" actId="478"/>
          <ac:spMkLst>
            <pc:docMk/>
            <pc:sldMk cId="2402903866" sldId="4180"/>
            <ac:spMk id="26" creationId="{1DB5536B-449C-467C-BA71-908947CF79E4}"/>
          </ac:spMkLst>
        </pc:spChg>
        <pc:spChg chg="add mod">
          <ac:chgData name="Michael E" userId="5cf36b76a1ed2b08" providerId="LiveId" clId="{53E7B0FC-B760-446C-8D8C-6B730CF1930F}" dt="2021-06-25T08:53:14.817" v="3590" actId="20577"/>
          <ac:spMkLst>
            <pc:docMk/>
            <pc:sldMk cId="2402903866" sldId="4180"/>
            <ac:spMk id="26" creationId="{F42A709C-4990-4EB5-B1CE-FBEC023A174E}"/>
          </ac:spMkLst>
        </pc:spChg>
        <pc:spChg chg="add del mod">
          <ac:chgData name="Michael E" userId="5cf36b76a1ed2b08" providerId="LiveId" clId="{53E7B0FC-B760-446C-8D8C-6B730CF1930F}" dt="2021-06-25T01:37:26.095" v="2448" actId="478"/>
          <ac:spMkLst>
            <pc:docMk/>
            <pc:sldMk cId="2402903866" sldId="4180"/>
            <ac:spMk id="30" creationId="{FC9E42B2-B2CB-4335-AED2-2FA7C9981609}"/>
          </ac:spMkLst>
        </pc:spChg>
        <pc:spChg chg="add del mod">
          <ac:chgData name="Michael E" userId="5cf36b76a1ed2b08" providerId="LiveId" clId="{53E7B0FC-B760-446C-8D8C-6B730CF1930F}" dt="2021-06-25T01:38:26.584" v="2461" actId="478"/>
          <ac:spMkLst>
            <pc:docMk/>
            <pc:sldMk cId="2402903866" sldId="4180"/>
            <ac:spMk id="31" creationId="{3E8B79E7-B7F8-4E57-A0F2-E9B8D77903D4}"/>
          </ac:spMkLst>
        </pc:spChg>
        <pc:spChg chg="add mod">
          <ac:chgData name="Michael E" userId="5cf36b76a1ed2b08" providerId="LiveId" clId="{53E7B0FC-B760-446C-8D8C-6B730CF1930F}" dt="2021-06-25T01:37:54.014" v="2453"/>
          <ac:spMkLst>
            <pc:docMk/>
            <pc:sldMk cId="2402903866" sldId="4180"/>
            <ac:spMk id="32" creationId="{03BC21C8-D42B-4FB7-8BE2-216CCC0AF505}"/>
          </ac:spMkLst>
        </pc:spChg>
        <pc:spChg chg="add mod">
          <ac:chgData name="Michael E" userId="5cf36b76a1ed2b08" providerId="LiveId" clId="{53E7B0FC-B760-446C-8D8C-6B730CF1930F}" dt="2021-06-25T01:38:26.787" v="2462"/>
          <ac:spMkLst>
            <pc:docMk/>
            <pc:sldMk cId="2402903866" sldId="4180"/>
            <ac:spMk id="33" creationId="{E9321A6F-1CAC-433A-B9B9-DBC361371F40}"/>
          </ac:spMkLst>
        </pc:spChg>
        <pc:spChg chg="add mod">
          <ac:chgData name="Michael E" userId="5cf36b76a1ed2b08" providerId="LiveId" clId="{53E7B0FC-B760-446C-8D8C-6B730CF1930F}" dt="2021-06-25T06:24:15.299" v="2545"/>
          <ac:spMkLst>
            <pc:docMk/>
            <pc:sldMk cId="2402903866" sldId="4180"/>
            <ac:spMk id="35" creationId="{73AEC303-BECC-45E9-A890-C224DC9E9D9F}"/>
          </ac:spMkLst>
        </pc:spChg>
        <pc:spChg chg="add mod">
          <ac:chgData name="Michael E" userId="5cf36b76a1ed2b08" providerId="LiveId" clId="{53E7B0FC-B760-446C-8D8C-6B730CF1930F}" dt="2021-06-25T06:24:15.299" v="2545"/>
          <ac:spMkLst>
            <pc:docMk/>
            <pc:sldMk cId="2402903866" sldId="4180"/>
            <ac:spMk id="36" creationId="{D88DA6CD-0FF8-403D-92C9-0E1A45F177D6}"/>
          </ac:spMkLst>
        </pc:spChg>
        <pc:spChg chg="add mod">
          <ac:chgData name="Michael E" userId="5cf36b76a1ed2b08" providerId="LiveId" clId="{53E7B0FC-B760-446C-8D8C-6B730CF1930F}" dt="2021-06-25T06:24:15.299" v="2545"/>
          <ac:spMkLst>
            <pc:docMk/>
            <pc:sldMk cId="2402903866" sldId="4180"/>
            <ac:spMk id="37" creationId="{C46B21C2-8FF0-4582-BAD6-F92DE51276A8}"/>
          </ac:spMkLst>
        </pc:spChg>
        <pc:spChg chg="add mod">
          <ac:chgData name="Michael E" userId="5cf36b76a1ed2b08" providerId="LiveId" clId="{53E7B0FC-B760-446C-8D8C-6B730CF1930F}" dt="2021-06-25T06:24:15.299" v="2545"/>
          <ac:spMkLst>
            <pc:docMk/>
            <pc:sldMk cId="2402903866" sldId="4180"/>
            <ac:spMk id="38" creationId="{56F4DA54-A182-4D52-8387-E805BB5AC1F8}"/>
          </ac:spMkLst>
        </pc:spChg>
        <pc:spChg chg="add mod">
          <ac:chgData name="Michael E" userId="5cf36b76a1ed2b08" providerId="LiveId" clId="{53E7B0FC-B760-446C-8D8C-6B730CF1930F}" dt="2021-06-25T06:26:27.800" v="2566"/>
          <ac:spMkLst>
            <pc:docMk/>
            <pc:sldMk cId="2402903866" sldId="4180"/>
            <ac:spMk id="39" creationId="{7E701E5E-F271-4E74-81AF-7EC3174D70BB}"/>
          </ac:spMkLst>
        </pc:spChg>
        <pc:spChg chg="add mod">
          <ac:chgData name="Michael E" userId="5cf36b76a1ed2b08" providerId="LiveId" clId="{53E7B0FC-B760-446C-8D8C-6B730CF1930F}" dt="2021-06-25T06:26:47.718" v="2571"/>
          <ac:spMkLst>
            <pc:docMk/>
            <pc:sldMk cId="2402903866" sldId="4180"/>
            <ac:spMk id="40" creationId="{4326DCED-98A1-42D4-A036-511A20768D11}"/>
          </ac:spMkLst>
        </pc:spChg>
        <pc:spChg chg="add mod">
          <ac:chgData name="Michael E" userId="5cf36b76a1ed2b08" providerId="LiveId" clId="{53E7B0FC-B760-446C-8D8C-6B730CF1930F}" dt="2021-06-25T06:27:20.480" v="2579"/>
          <ac:spMkLst>
            <pc:docMk/>
            <pc:sldMk cId="2402903866" sldId="4180"/>
            <ac:spMk id="41" creationId="{2DAD4F36-0D85-4073-8FAB-C8B53777EAB7}"/>
          </ac:spMkLst>
        </pc:spChg>
        <pc:grpChg chg="del">
          <ac:chgData name="Michael E" userId="5cf36b76a1ed2b08" providerId="LiveId" clId="{53E7B0FC-B760-446C-8D8C-6B730CF1930F}" dt="2021-06-25T01:26:49.957" v="2289" actId="478"/>
          <ac:grpSpMkLst>
            <pc:docMk/>
            <pc:sldMk cId="2402903866" sldId="4180"/>
            <ac:grpSpMk id="27" creationId="{5C6437CE-7AA4-4056-9B8F-04B21A1E7E43}"/>
          </ac:grpSpMkLst>
        </pc:grpChg>
        <pc:picChg chg="add del mod">
          <ac:chgData name="Michael E" userId="5cf36b76a1ed2b08" providerId="LiveId" clId="{53E7B0FC-B760-446C-8D8C-6B730CF1930F}" dt="2021-06-25T03:58:02.747" v="2466" actId="21"/>
          <ac:picMkLst>
            <pc:docMk/>
            <pc:sldMk cId="2402903866" sldId="4180"/>
            <ac:picMk id="8" creationId="{7FEF97B4-00ED-4055-8E99-5DEED112FB46}"/>
          </ac:picMkLst>
        </pc:picChg>
        <pc:picChg chg="del">
          <ac:chgData name="Michael E" userId="5cf36b76a1ed2b08" providerId="LiveId" clId="{53E7B0FC-B760-446C-8D8C-6B730CF1930F}" dt="2021-06-25T01:26:49.957" v="2289" actId="478"/>
          <ac:picMkLst>
            <pc:docMk/>
            <pc:sldMk cId="2402903866" sldId="4180"/>
            <ac:picMk id="25" creationId="{AFFF0711-CB7A-4388-AFE0-04209DBEB3B7}"/>
          </ac:picMkLst>
        </pc:picChg>
        <pc:picChg chg="add mod">
          <ac:chgData name="Michael E" userId="5cf36b76a1ed2b08" providerId="LiveId" clId="{53E7B0FC-B760-446C-8D8C-6B730CF1930F}" dt="2021-06-25T03:58:32.833" v="2471"/>
          <ac:picMkLst>
            <pc:docMk/>
            <pc:sldMk cId="2402903866" sldId="4180"/>
            <ac:picMk id="34" creationId="{1C432647-55CE-4F4D-A968-B46B67BBDD53}"/>
          </ac:picMkLst>
        </pc:picChg>
      </pc:sldChg>
      <pc:sldChg chg="addSp delSp modSp add mod modTransition delAnim modAnim modNotesTx">
        <pc:chgData name="Michael E" userId="5cf36b76a1ed2b08" providerId="LiveId" clId="{53E7B0FC-B760-446C-8D8C-6B730CF1930F}" dt="2021-06-25T09:22:50.792" v="4723" actId="166"/>
        <pc:sldMkLst>
          <pc:docMk/>
          <pc:sldMk cId="3267293217" sldId="4181"/>
        </pc:sldMkLst>
        <pc:spChg chg="del">
          <ac:chgData name="Michael E" userId="5cf36b76a1ed2b08" providerId="LiveId" clId="{53E7B0FC-B760-446C-8D8C-6B730CF1930F}" dt="2021-06-25T06:24:20.210" v="2546" actId="478"/>
          <ac:spMkLst>
            <pc:docMk/>
            <pc:sldMk cId="3267293217" sldId="4181"/>
            <ac:spMk id="4" creationId="{D4D3B926-62B5-4B40-A8FA-52E8A0176B75}"/>
          </ac:spMkLst>
        </pc:spChg>
        <pc:spChg chg="del">
          <ac:chgData name="Michael E" userId="5cf36b76a1ed2b08" providerId="LiveId" clId="{53E7B0FC-B760-446C-8D8C-6B730CF1930F}" dt="2021-06-25T06:24:20.210" v="2546" actId="478"/>
          <ac:spMkLst>
            <pc:docMk/>
            <pc:sldMk cId="3267293217" sldId="4181"/>
            <ac:spMk id="5" creationId="{53A7E79D-6CBC-44D1-9B7F-4FD4B1FC9D53}"/>
          </ac:spMkLst>
        </pc:spChg>
        <pc:spChg chg="del">
          <ac:chgData name="Michael E" userId="5cf36b76a1ed2b08" providerId="LiveId" clId="{53E7B0FC-B760-446C-8D8C-6B730CF1930F}" dt="2021-06-25T06:24:20.210" v="2546" actId="478"/>
          <ac:spMkLst>
            <pc:docMk/>
            <pc:sldMk cId="3267293217" sldId="4181"/>
            <ac:spMk id="6" creationId="{936193C1-277C-4DFA-A1DC-32EECDF8BF87}"/>
          </ac:spMkLst>
        </pc:spChg>
        <pc:spChg chg="del">
          <ac:chgData name="Michael E" userId="5cf36b76a1ed2b08" providerId="LiveId" clId="{53E7B0FC-B760-446C-8D8C-6B730CF1930F}" dt="2021-06-25T06:24:20.210" v="2546" actId="478"/>
          <ac:spMkLst>
            <pc:docMk/>
            <pc:sldMk cId="3267293217" sldId="4181"/>
            <ac:spMk id="7" creationId="{6313CA7F-F2B0-4D58-B96D-A884FCD949DA}"/>
          </ac:spMkLst>
        </pc:spChg>
        <pc:spChg chg="del">
          <ac:chgData name="Michael E" userId="5cf36b76a1ed2b08" providerId="LiveId" clId="{53E7B0FC-B760-446C-8D8C-6B730CF1930F}" dt="2021-06-25T01:26:56.253" v="2290" actId="478"/>
          <ac:spMkLst>
            <pc:docMk/>
            <pc:sldMk cId="3267293217" sldId="4181"/>
            <ac:spMk id="12" creationId="{B7AC6AE1-4A16-4358-A16D-DD4EC574D72B}"/>
          </ac:spMkLst>
        </pc:spChg>
        <pc:spChg chg="add mod ord">
          <ac:chgData name="Michael E" userId="5cf36b76a1ed2b08" providerId="LiveId" clId="{53E7B0FC-B760-446C-8D8C-6B730CF1930F}" dt="2021-06-25T09:22:15.253" v="4721" actId="166"/>
          <ac:spMkLst>
            <pc:docMk/>
            <pc:sldMk cId="3267293217" sldId="4181"/>
            <ac:spMk id="14" creationId="{72CBAC3D-CE0E-409C-B3C1-CD2D6D345658}"/>
          </ac:spMkLst>
        </pc:spChg>
        <pc:spChg chg="add mod ord">
          <ac:chgData name="Michael E" userId="5cf36b76a1ed2b08" providerId="LiveId" clId="{53E7B0FC-B760-446C-8D8C-6B730CF1930F}" dt="2021-06-25T09:09:25.158" v="4711" actId="1035"/>
          <ac:spMkLst>
            <pc:docMk/>
            <pc:sldMk cId="3267293217" sldId="4181"/>
            <ac:spMk id="15" creationId="{EC35D761-5253-4AE1-9588-2038578A97EC}"/>
          </ac:spMkLst>
        </pc:spChg>
        <pc:spChg chg="add mod ord">
          <ac:chgData name="Michael E" userId="5cf36b76a1ed2b08" providerId="LiveId" clId="{53E7B0FC-B760-446C-8D8C-6B730CF1930F}" dt="2021-06-25T09:22:33.643" v="4722" actId="166"/>
          <ac:spMkLst>
            <pc:docMk/>
            <pc:sldMk cId="3267293217" sldId="4181"/>
            <ac:spMk id="16" creationId="{5D4EC632-D5E1-4510-9B3D-1389446E20E4}"/>
          </ac:spMkLst>
        </pc:spChg>
        <pc:spChg chg="add mod">
          <ac:chgData name="Michael E" userId="5cf36b76a1ed2b08" providerId="LiveId" clId="{53E7B0FC-B760-446C-8D8C-6B730CF1930F}" dt="2021-06-25T08:58:14.708" v="3759" actId="20577"/>
          <ac:spMkLst>
            <pc:docMk/>
            <pc:sldMk cId="3267293217" sldId="4181"/>
            <ac:spMk id="17" creationId="{0CC6E29A-A505-4155-8A97-28C303439923}"/>
          </ac:spMkLst>
        </pc:spChg>
        <pc:spChg chg="del">
          <ac:chgData name="Michael E" userId="5cf36b76a1ed2b08" providerId="LiveId" clId="{53E7B0FC-B760-446C-8D8C-6B730CF1930F}" dt="2021-06-25T01:26:56.253" v="2290" actId="478"/>
          <ac:spMkLst>
            <pc:docMk/>
            <pc:sldMk cId="3267293217" sldId="4181"/>
            <ac:spMk id="17" creationId="{28D84B01-74FB-4C31-9BF8-D0F1617AE9FA}"/>
          </ac:spMkLst>
        </pc:spChg>
        <pc:spChg chg="del">
          <ac:chgData name="Michael E" userId="5cf36b76a1ed2b08" providerId="LiveId" clId="{53E7B0FC-B760-446C-8D8C-6B730CF1930F}" dt="2021-06-25T01:26:56.253" v="2290" actId="478"/>
          <ac:spMkLst>
            <pc:docMk/>
            <pc:sldMk cId="3267293217" sldId="4181"/>
            <ac:spMk id="18" creationId="{5EF39464-E8CF-4618-8ABB-0A449FEA8318}"/>
          </ac:spMkLst>
        </pc:spChg>
        <pc:spChg chg="add mod ord">
          <ac:chgData name="Michael E" userId="5cf36b76a1ed2b08" providerId="LiveId" clId="{53E7B0FC-B760-446C-8D8C-6B730CF1930F}" dt="2021-06-25T09:22:50.792" v="4723" actId="166"/>
          <ac:spMkLst>
            <pc:docMk/>
            <pc:sldMk cId="3267293217" sldId="4181"/>
            <ac:spMk id="18" creationId="{D71A247B-D9DC-47DD-B14E-FB596EE16E8E}"/>
          </ac:spMkLst>
        </pc:spChg>
        <pc:spChg chg="del">
          <ac:chgData name="Michael E" userId="5cf36b76a1ed2b08" providerId="LiveId" clId="{53E7B0FC-B760-446C-8D8C-6B730CF1930F}" dt="2021-06-25T01:26:56.253" v="2290" actId="478"/>
          <ac:spMkLst>
            <pc:docMk/>
            <pc:sldMk cId="3267293217" sldId="4181"/>
            <ac:spMk id="19" creationId="{8AEEA487-EE24-4059-956D-E878CF0D8247}"/>
          </ac:spMkLst>
        </pc:spChg>
        <pc:spChg chg="add mod ord">
          <ac:chgData name="Michael E" userId="5cf36b76a1ed2b08" providerId="LiveId" clId="{53E7B0FC-B760-446C-8D8C-6B730CF1930F}" dt="2021-06-25T09:22:50.792" v="4723" actId="166"/>
          <ac:spMkLst>
            <pc:docMk/>
            <pc:sldMk cId="3267293217" sldId="4181"/>
            <ac:spMk id="19" creationId="{CFAFC49E-D7D9-4D17-ADEC-AEBA8E7F1545}"/>
          </ac:spMkLst>
        </pc:spChg>
        <pc:spChg chg="mod">
          <ac:chgData name="Michael E" userId="5cf36b76a1ed2b08" providerId="LiveId" clId="{53E7B0FC-B760-446C-8D8C-6B730CF1930F}" dt="2021-06-25T06:26:41.526" v="2569"/>
          <ac:spMkLst>
            <pc:docMk/>
            <pc:sldMk cId="3267293217" sldId="4181"/>
            <ac:spMk id="20" creationId="{DB18C080-93D3-4CD1-9D24-950E8925A9C7}"/>
          </ac:spMkLst>
        </pc:spChg>
        <pc:spChg chg="mod">
          <ac:chgData name="Michael E" userId="5cf36b76a1ed2b08" providerId="LiveId" clId="{53E7B0FC-B760-446C-8D8C-6B730CF1930F}" dt="2021-06-25T01:27:02.418" v="2291" actId="108"/>
          <ac:spMkLst>
            <pc:docMk/>
            <pc:sldMk cId="3267293217" sldId="4181"/>
            <ac:spMk id="21" creationId="{B2E75AFC-0A24-4011-B57A-E7DD3D1009FA}"/>
          </ac:spMkLst>
        </pc:spChg>
        <pc:spChg chg="add mod">
          <ac:chgData name="Michael E" userId="5cf36b76a1ed2b08" providerId="LiveId" clId="{53E7B0FC-B760-446C-8D8C-6B730CF1930F}" dt="2021-06-25T09:08:40.361" v="4687" actId="1037"/>
          <ac:spMkLst>
            <pc:docMk/>
            <pc:sldMk cId="3267293217" sldId="4181"/>
            <ac:spMk id="22" creationId="{0E152F40-6C6A-4686-B120-808662D89AF0}"/>
          </ac:spMkLst>
        </pc:spChg>
        <pc:spChg chg="del mod">
          <ac:chgData name="Michael E" userId="5cf36b76a1ed2b08" providerId="LiveId" clId="{53E7B0FC-B760-446C-8D8C-6B730CF1930F}" dt="2021-06-25T06:26:30.990" v="2567" actId="478"/>
          <ac:spMkLst>
            <pc:docMk/>
            <pc:sldMk cId="3267293217" sldId="4181"/>
            <ac:spMk id="22" creationId="{71809B9B-0A5A-4B92-8612-B6215E724D1C}"/>
          </ac:spMkLst>
        </pc:spChg>
        <pc:spChg chg="del">
          <ac:chgData name="Michael E" userId="5cf36b76a1ed2b08" providerId="LiveId" clId="{53E7B0FC-B760-446C-8D8C-6B730CF1930F}" dt="2021-06-25T06:27:30.265" v="2582" actId="478"/>
          <ac:spMkLst>
            <pc:docMk/>
            <pc:sldMk cId="3267293217" sldId="4181"/>
            <ac:spMk id="23" creationId="{0FB16219-0BB5-4E96-9AA2-69EE5CCC4838}"/>
          </ac:spMkLst>
        </pc:spChg>
        <pc:spChg chg="add mod">
          <ac:chgData name="Michael E" userId="5cf36b76a1ed2b08" providerId="LiveId" clId="{53E7B0FC-B760-446C-8D8C-6B730CF1930F}" dt="2021-06-25T08:58:32.702" v="3763" actId="20577"/>
          <ac:spMkLst>
            <pc:docMk/>
            <pc:sldMk cId="3267293217" sldId="4181"/>
            <ac:spMk id="23" creationId="{7BF30644-4845-4D40-AB9A-F81C29DA4576}"/>
          </ac:spMkLst>
        </pc:spChg>
        <pc:spChg chg="del">
          <ac:chgData name="Michael E" userId="5cf36b76a1ed2b08" providerId="LiveId" clId="{53E7B0FC-B760-446C-8D8C-6B730CF1930F}" dt="2021-06-25T01:26:56.253" v="2290" actId="478"/>
          <ac:spMkLst>
            <pc:docMk/>
            <pc:sldMk cId="3267293217" sldId="4181"/>
            <ac:spMk id="24" creationId="{9DBB7E8C-0025-443D-AFBA-AB9C20C3B815}"/>
          </ac:spMkLst>
        </pc:spChg>
        <pc:spChg chg="del">
          <ac:chgData name="Michael E" userId="5cf36b76a1ed2b08" providerId="LiveId" clId="{53E7B0FC-B760-446C-8D8C-6B730CF1930F}" dt="2021-06-25T01:26:56.253" v="2290" actId="478"/>
          <ac:spMkLst>
            <pc:docMk/>
            <pc:sldMk cId="3267293217" sldId="4181"/>
            <ac:spMk id="26" creationId="{1DB5536B-449C-467C-BA71-908947CF79E4}"/>
          </ac:spMkLst>
        </pc:spChg>
        <pc:spChg chg="add del mod">
          <ac:chgData name="Michael E" userId="5cf36b76a1ed2b08" providerId="LiveId" clId="{53E7B0FC-B760-446C-8D8C-6B730CF1930F}" dt="2021-06-25T01:37:32.260" v="2451" actId="478"/>
          <ac:spMkLst>
            <pc:docMk/>
            <pc:sldMk cId="3267293217" sldId="4181"/>
            <ac:spMk id="30" creationId="{8720F3B6-D871-4F79-B90D-7425B06467B1}"/>
          </ac:spMkLst>
        </pc:spChg>
        <pc:spChg chg="add del mod">
          <ac:chgData name="Michael E" userId="5cf36b76a1ed2b08" providerId="LiveId" clId="{53E7B0FC-B760-446C-8D8C-6B730CF1930F}" dt="2021-06-25T01:38:00.027" v="2454" actId="478"/>
          <ac:spMkLst>
            <pc:docMk/>
            <pc:sldMk cId="3267293217" sldId="4181"/>
            <ac:spMk id="31" creationId="{6D73E464-B361-4A52-947B-BCF838F24789}"/>
          </ac:spMkLst>
        </pc:spChg>
        <pc:spChg chg="add mod">
          <ac:chgData name="Michael E" userId="5cf36b76a1ed2b08" providerId="LiveId" clId="{53E7B0FC-B760-446C-8D8C-6B730CF1930F}" dt="2021-06-25T01:38:00.232" v="2455"/>
          <ac:spMkLst>
            <pc:docMk/>
            <pc:sldMk cId="3267293217" sldId="4181"/>
            <ac:spMk id="32" creationId="{50A486A7-CC54-4DC9-89DC-8E6BF0723284}"/>
          </ac:spMkLst>
        </pc:spChg>
        <pc:spChg chg="add mod">
          <ac:chgData name="Michael E" userId="5cf36b76a1ed2b08" providerId="LiveId" clId="{53E7B0FC-B760-446C-8D8C-6B730CF1930F}" dt="2021-06-25T06:24:20.483" v="2547"/>
          <ac:spMkLst>
            <pc:docMk/>
            <pc:sldMk cId="3267293217" sldId="4181"/>
            <ac:spMk id="34" creationId="{23A3A87C-0392-458D-9929-8D9DDF9D37D0}"/>
          </ac:spMkLst>
        </pc:spChg>
        <pc:spChg chg="add mod">
          <ac:chgData name="Michael E" userId="5cf36b76a1ed2b08" providerId="LiveId" clId="{53E7B0FC-B760-446C-8D8C-6B730CF1930F}" dt="2021-06-25T06:24:20.483" v="2547"/>
          <ac:spMkLst>
            <pc:docMk/>
            <pc:sldMk cId="3267293217" sldId="4181"/>
            <ac:spMk id="35" creationId="{61D702D4-B011-4248-8BB8-66C523EDF1F4}"/>
          </ac:spMkLst>
        </pc:spChg>
        <pc:spChg chg="add mod">
          <ac:chgData name="Michael E" userId="5cf36b76a1ed2b08" providerId="LiveId" clId="{53E7B0FC-B760-446C-8D8C-6B730CF1930F}" dt="2021-06-25T06:24:20.483" v="2547"/>
          <ac:spMkLst>
            <pc:docMk/>
            <pc:sldMk cId="3267293217" sldId="4181"/>
            <ac:spMk id="36" creationId="{28A9DA75-78D7-43A2-A95C-790B8C757352}"/>
          </ac:spMkLst>
        </pc:spChg>
        <pc:spChg chg="add mod">
          <ac:chgData name="Michael E" userId="5cf36b76a1ed2b08" providerId="LiveId" clId="{53E7B0FC-B760-446C-8D8C-6B730CF1930F}" dt="2021-06-25T06:24:20.483" v="2547"/>
          <ac:spMkLst>
            <pc:docMk/>
            <pc:sldMk cId="3267293217" sldId="4181"/>
            <ac:spMk id="37" creationId="{6F48DC07-3A14-412F-A777-195C82C0F6C6}"/>
          </ac:spMkLst>
        </pc:spChg>
        <pc:spChg chg="add mod">
          <ac:chgData name="Michael E" userId="5cf36b76a1ed2b08" providerId="LiveId" clId="{53E7B0FC-B760-446C-8D8C-6B730CF1930F}" dt="2021-06-25T06:26:31.877" v="2568"/>
          <ac:spMkLst>
            <pc:docMk/>
            <pc:sldMk cId="3267293217" sldId="4181"/>
            <ac:spMk id="38" creationId="{C9EF3D23-80EB-4856-B8EC-F6DE49AB34BD}"/>
          </ac:spMkLst>
        </pc:spChg>
        <pc:spChg chg="add mod">
          <ac:chgData name="Michael E" userId="5cf36b76a1ed2b08" providerId="LiveId" clId="{53E7B0FC-B760-446C-8D8C-6B730CF1930F}" dt="2021-06-25T06:27:30.665" v="2583"/>
          <ac:spMkLst>
            <pc:docMk/>
            <pc:sldMk cId="3267293217" sldId="4181"/>
            <ac:spMk id="39" creationId="{09F474A2-F084-4195-BF99-4E4F9E6D6399}"/>
          </ac:spMkLst>
        </pc:spChg>
        <pc:grpChg chg="add mod">
          <ac:chgData name="Michael E" userId="5cf36b76a1ed2b08" providerId="LiveId" clId="{53E7B0FC-B760-446C-8D8C-6B730CF1930F}" dt="2021-06-25T09:07:26.498" v="4587" actId="164"/>
          <ac:grpSpMkLst>
            <pc:docMk/>
            <pc:sldMk cId="3267293217" sldId="4181"/>
            <ac:grpSpMk id="5" creationId="{ED8164D1-21B7-4489-AAC4-C91E1C87E06F}"/>
          </ac:grpSpMkLst>
        </pc:grpChg>
        <pc:grpChg chg="del">
          <ac:chgData name="Michael E" userId="5cf36b76a1ed2b08" providerId="LiveId" clId="{53E7B0FC-B760-446C-8D8C-6B730CF1930F}" dt="2021-06-25T01:26:56.253" v="2290" actId="478"/>
          <ac:grpSpMkLst>
            <pc:docMk/>
            <pc:sldMk cId="3267293217" sldId="4181"/>
            <ac:grpSpMk id="27" creationId="{5C6437CE-7AA4-4056-9B8F-04B21A1E7E43}"/>
          </ac:grpSpMkLst>
        </pc:grpChg>
        <pc:picChg chg="add del mod">
          <ac:chgData name="Michael E" userId="5cf36b76a1ed2b08" providerId="LiveId" clId="{53E7B0FC-B760-446C-8D8C-6B730CF1930F}" dt="2021-06-25T09:06:11.271" v="4540" actId="21"/>
          <ac:picMkLst>
            <pc:docMk/>
            <pc:sldMk cId="3267293217" sldId="4181"/>
            <ac:picMk id="4" creationId="{C06CCB0F-266A-4F01-8FF9-F60AE994B29A}"/>
          </ac:picMkLst>
        </pc:picChg>
        <pc:picChg chg="add mod ord">
          <ac:chgData name="Michael E" userId="5cf36b76a1ed2b08" providerId="LiveId" clId="{53E7B0FC-B760-446C-8D8C-6B730CF1930F}" dt="2021-06-25T09:06:49.640" v="4584" actId="167"/>
          <ac:picMkLst>
            <pc:docMk/>
            <pc:sldMk cId="3267293217" sldId="4181"/>
            <ac:picMk id="13" creationId="{68A9D0B0-3F19-42AF-8FEF-20D3151BE92A}"/>
          </ac:picMkLst>
        </pc:picChg>
        <pc:picChg chg="add del mod">
          <ac:chgData name="Michael E" userId="5cf36b76a1ed2b08" providerId="LiveId" clId="{53E7B0FC-B760-446C-8D8C-6B730CF1930F}" dt="2021-06-25T09:06:14.205" v="4542" actId="21"/>
          <ac:picMkLst>
            <pc:docMk/>
            <pc:sldMk cId="3267293217" sldId="4181"/>
            <ac:picMk id="24" creationId="{9794C174-278D-4FCE-9D66-DF7102F94936}"/>
          </ac:picMkLst>
        </pc:picChg>
        <pc:picChg chg="del">
          <ac:chgData name="Michael E" userId="5cf36b76a1ed2b08" providerId="LiveId" clId="{53E7B0FC-B760-446C-8D8C-6B730CF1930F}" dt="2021-06-25T01:26:56.253" v="2290" actId="478"/>
          <ac:picMkLst>
            <pc:docMk/>
            <pc:sldMk cId="3267293217" sldId="4181"/>
            <ac:picMk id="25" creationId="{AFFF0711-CB7A-4388-AFE0-04209DBEB3B7}"/>
          </ac:picMkLst>
        </pc:picChg>
        <pc:picChg chg="add del mod">
          <ac:chgData name="Michael E" userId="5cf36b76a1ed2b08" providerId="LiveId" clId="{53E7B0FC-B760-446C-8D8C-6B730CF1930F}" dt="2021-06-25T09:06:18.888" v="4556" actId="21"/>
          <ac:picMkLst>
            <pc:docMk/>
            <pc:sldMk cId="3267293217" sldId="4181"/>
            <ac:picMk id="25" creationId="{C556A806-F1CC-4E37-BE31-A2AA0AB56954}"/>
          </ac:picMkLst>
        </pc:picChg>
        <pc:picChg chg="add del mod">
          <ac:chgData name="Michael E" userId="5cf36b76a1ed2b08" providerId="LiveId" clId="{53E7B0FC-B760-446C-8D8C-6B730CF1930F}" dt="2021-06-25T09:06:20.541" v="4558" actId="21"/>
          <ac:picMkLst>
            <pc:docMk/>
            <pc:sldMk cId="3267293217" sldId="4181"/>
            <ac:picMk id="26" creationId="{15EC5332-30A6-433F-B3C0-776904347248}"/>
          </ac:picMkLst>
        </pc:picChg>
        <pc:picChg chg="add del mod">
          <ac:chgData name="Michael E" userId="5cf36b76a1ed2b08" providerId="LiveId" clId="{53E7B0FC-B760-446C-8D8C-6B730CF1930F}" dt="2021-06-25T09:06:21.712" v="4560" actId="21"/>
          <ac:picMkLst>
            <pc:docMk/>
            <pc:sldMk cId="3267293217" sldId="4181"/>
            <ac:picMk id="27" creationId="{52823256-7EDF-4151-80F8-F0D509480D87}"/>
          </ac:picMkLst>
        </pc:picChg>
        <pc:picChg chg="add del mod">
          <ac:chgData name="Michael E" userId="5cf36b76a1ed2b08" providerId="LiveId" clId="{53E7B0FC-B760-446C-8D8C-6B730CF1930F}" dt="2021-06-25T09:06:24.419" v="4564" actId="21"/>
          <ac:picMkLst>
            <pc:docMk/>
            <pc:sldMk cId="3267293217" sldId="4181"/>
            <ac:picMk id="28" creationId="{4D466E5C-4E46-4B08-ADF0-919EE7B3D54A}"/>
          </ac:picMkLst>
        </pc:picChg>
        <pc:picChg chg="add del mod">
          <ac:chgData name="Michael E" userId="5cf36b76a1ed2b08" providerId="LiveId" clId="{53E7B0FC-B760-446C-8D8C-6B730CF1930F}" dt="2021-06-25T09:06:25.751" v="4566" actId="21"/>
          <ac:picMkLst>
            <pc:docMk/>
            <pc:sldMk cId="3267293217" sldId="4181"/>
            <ac:picMk id="29" creationId="{C2D18059-E843-4D3F-8308-5A5A2A4C447C}"/>
          </ac:picMkLst>
        </pc:picChg>
        <pc:picChg chg="add del mod">
          <ac:chgData name="Michael E" userId="5cf36b76a1ed2b08" providerId="LiveId" clId="{53E7B0FC-B760-446C-8D8C-6B730CF1930F}" dt="2021-06-25T09:06:28.502" v="4570" actId="21"/>
          <ac:picMkLst>
            <pc:docMk/>
            <pc:sldMk cId="3267293217" sldId="4181"/>
            <ac:picMk id="30" creationId="{5F0C9671-41A1-4AAA-BDF4-35673A986ADC}"/>
          </ac:picMkLst>
        </pc:picChg>
        <pc:picChg chg="add del mod">
          <ac:chgData name="Michael E" userId="5cf36b76a1ed2b08" providerId="LiveId" clId="{53E7B0FC-B760-446C-8D8C-6B730CF1930F}" dt="2021-06-25T09:06:31.081" v="4572" actId="21"/>
          <ac:picMkLst>
            <pc:docMk/>
            <pc:sldMk cId="3267293217" sldId="4181"/>
            <ac:picMk id="31" creationId="{54147D1C-3B39-4CE6-8297-231E4D41ECE1}"/>
          </ac:picMkLst>
        </pc:picChg>
        <pc:picChg chg="add del mod">
          <ac:chgData name="Michael E" userId="5cf36b76a1ed2b08" providerId="LiveId" clId="{53E7B0FC-B760-446C-8D8C-6B730CF1930F}" dt="2021-06-25T08:56:30.405" v="3727" actId="478"/>
          <ac:picMkLst>
            <pc:docMk/>
            <pc:sldMk cId="3267293217" sldId="4181"/>
            <ac:picMk id="33" creationId="{4FF26DB8-47DF-4D08-88BA-D68ACB1E21FF}"/>
          </ac:picMkLst>
        </pc:picChg>
        <pc:picChg chg="add del mod">
          <ac:chgData name="Michael E" userId="5cf36b76a1ed2b08" providerId="LiveId" clId="{53E7B0FC-B760-446C-8D8C-6B730CF1930F}" dt="2021-06-25T09:06:32.639" v="4574" actId="21"/>
          <ac:picMkLst>
            <pc:docMk/>
            <pc:sldMk cId="3267293217" sldId="4181"/>
            <ac:picMk id="40" creationId="{5A4B7329-CC86-4329-A17D-F643C66E7B34}"/>
          </ac:picMkLst>
        </pc:picChg>
        <pc:picChg chg="add del mod">
          <ac:chgData name="Michael E" userId="5cf36b76a1ed2b08" providerId="LiveId" clId="{53E7B0FC-B760-446C-8D8C-6B730CF1930F}" dt="2021-06-25T09:06:35.396" v="4577" actId="21"/>
          <ac:picMkLst>
            <pc:docMk/>
            <pc:sldMk cId="3267293217" sldId="4181"/>
            <ac:picMk id="41" creationId="{9BEDCCB2-3C52-4F78-A1B0-F4402D9DB8F2}"/>
          </ac:picMkLst>
        </pc:picChg>
        <pc:picChg chg="add del mod">
          <ac:chgData name="Michael E" userId="5cf36b76a1ed2b08" providerId="LiveId" clId="{53E7B0FC-B760-446C-8D8C-6B730CF1930F}" dt="2021-06-25T09:06:36.602" v="4579" actId="21"/>
          <ac:picMkLst>
            <pc:docMk/>
            <pc:sldMk cId="3267293217" sldId="4181"/>
            <ac:picMk id="42" creationId="{61580374-6212-4F8E-9297-E5E5A23D79E1}"/>
          </ac:picMkLst>
        </pc:picChg>
        <pc:picChg chg="add del mod">
          <ac:chgData name="Michael E" userId="5cf36b76a1ed2b08" providerId="LiveId" clId="{53E7B0FC-B760-446C-8D8C-6B730CF1930F}" dt="2021-06-25T09:06:37.858" v="4581" actId="21"/>
          <ac:picMkLst>
            <pc:docMk/>
            <pc:sldMk cId="3267293217" sldId="4181"/>
            <ac:picMk id="43" creationId="{7B0E84BE-03AA-4CFD-944C-1B45F476DDD7}"/>
          </ac:picMkLst>
        </pc:picChg>
        <pc:picChg chg="add mod ord">
          <ac:chgData name="Michael E" userId="5cf36b76a1ed2b08" providerId="LiveId" clId="{53E7B0FC-B760-446C-8D8C-6B730CF1930F}" dt="2021-06-25T09:07:26.498" v="4587" actId="164"/>
          <ac:picMkLst>
            <pc:docMk/>
            <pc:sldMk cId="3267293217" sldId="4181"/>
            <ac:picMk id="44" creationId="{13D89AEE-42D1-488F-A3A0-3E3FA36AB056}"/>
          </ac:picMkLst>
        </pc:picChg>
      </pc:sldChg>
      <pc:sldChg chg="addSp delSp modSp add mod modTransition modAnim">
        <pc:chgData name="Michael E" userId="5cf36b76a1ed2b08" providerId="LiveId" clId="{53E7B0FC-B760-446C-8D8C-6B730CF1930F}" dt="2021-06-25T10:08:22.883" v="6344"/>
        <pc:sldMkLst>
          <pc:docMk/>
          <pc:sldMk cId="2205564651" sldId="4182"/>
        </pc:sldMkLst>
        <pc:spChg chg="del mod">
          <ac:chgData name="Michael E" userId="5cf36b76a1ed2b08" providerId="LiveId" clId="{53E7B0FC-B760-446C-8D8C-6B730CF1930F}" dt="2021-06-25T06:25:08.811" v="2555" actId="478"/>
          <ac:spMkLst>
            <pc:docMk/>
            <pc:sldMk cId="2205564651" sldId="4182"/>
            <ac:spMk id="3" creationId="{8452A011-28E3-49B4-AC6F-854C9F1262A3}"/>
          </ac:spMkLst>
        </pc:spChg>
        <pc:spChg chg="mod">
          <ac:chgData name="Michael E" userId="5cf36b76a1ed2b08" providerId="LiveId" clId="{53E7B0FC-B760-446C-8D8C-6B730CF1930F}" dt="2021-06-25T04:02:53.875" v="2517" actId="108"/>
          <ac:spMkLst>
            <pc:docMk/>
            <pc:sldMk cId="2205564651" sldId="4182"/>
            <ac:spMk id="4" creationId="{D4D3B926-62B5-4B40-A8FA-52E8A0176B75}"/>
          </ac:spMkLst>
        </pc:spChg>
        <pc:spChg chg="del">
          <ac:chgData name="Michael E" userId="5cf36b76a1ed2b08" providerId="LiveId" clId="{53E7B0FC-B760-446C-8D8C-6B730CF1930F}" dt="2021-06-25T06:23:33.214" v="2536" actId="478"/>
          <ac:spMkLst>
            <pc:docMk/>
            <pc:sldMk cId="2205564651" sldId="4182"/>
            <ac:spMk id="5" creationId="{53A7E79D-6CBC-44D1-9B7F-4FD4B1FC9D53}"/>
          </ac:spMkLst>
        </pc:spChg>
        <pc:spChg chg="del">
          <ac:chgData name="Michael E" userId="5cf36b76a1ed2b08" providerId="LiveId" clId="{53E7B0FC-B760-446C-8D8C-6B730CF1930F}" dt="2021-06-25T06:23:33.214" v="2536" actId="478"/>
          <ac:spMkLst>
            <pc:docMk/>
            <pc:sldMk cId="2205564651" sldId="4182"/>
            <ac:spMk id="6" creationId="{936193C1-277C-4DFA-A1DC-32EECDF8BF87}"/>
          </ac:spMkLst>
        </pc:spChg>
        <pc:spChg chg="del">
          <ac:chgData name="Michael E" userId="5cf36b76a1ed2b08" providerId="LiveId" clId="{53E7B0FC-B760-446C-8D8C-6B730CF1930F}" dt="2021-06-25T06:23:33.214" v="2536" actId="478"/>
          <ac:spMkLst>
            <pc:docMk/>
            <pc:sldMk cId="2205564651" sldId="4182"/>
            <ac:spMk id="7" creationId="{6313CA7F-F2B0-4D58-B96D-A884FCD949DA}"/>
          </ac:spMkLst>
        </pc:spChg>
        <pc:spChg chg="add mod">
          <ac:chgData name="Michael E" userId="5cf36b76a1ed2b08" providerId="LiveId" clId="{53E7B0FC-B760-446C-8D8C-6B730CF1930F}" dt="2021-06-25T06:23:33.481" v="2537"/>
          <ac:spMkLst>
            <pc:docMk/>
            <pc:sldMk cId="2205564651" sldId="4182"/>
            <ac:spMk id="13" creationId="{7666FE79-0708-4577-8E34-4FC3E259DA2F}"/>
          </ac:spMkLst>
        </pc:spChg>
        <pc:spChg chg="add mod">
          <ac:chgData name="Michael E" userId="5cf36b76a1ed2b08" providerId="LiveId" clId="{53E7B0FC-B760-446C-8D8C-6B730CF1930F}" dt="2021-06-25T06:23:33.481" v="2537"/>
          <ac:spMkLst>
            <pc:docMk/>
            <pc:sldMk cId="2205564651" sldId="4182"/>
            <ac:spMk id="14" creationId="{995BE020-AC97-4F9E-9207-2395273A6138}"/>
          </ac:spMkLst>
        </pc:spChg>
        <pc:spChg chg="add mod">
          <ac:chgData name="Michael E" userId="5cf36b76a1ed2b08" providerId="LiveId" clId="{53E7B0FC-B760-446C-8D8C-6B730CF1930F}" dt="2021-06-25T06:23:33.481" v="2537"/>
          <ac:spMkLst>
            <pc:docMk/>
            <pc:sldMk cId="2205564651" sldId="4182"/>
            <ac:spMk id="15" creationId="{51D89E0E-C072-44EC-9F65-D150886C1058}"/>
          </ac:spMkLst>
        </pc:spChg>
        <pc:spChg chg="add mod">
          <ac:chgData name="Michael E" userId="5cf36b76a1ed2b08" providerId="LiveId" clId="{53E7B0FC-B760-446C-8D8C-6B730CF1930F}" dt="2021-06-25T06:25:09.017" v="2556"/>
          <ac:spMkLst>
            <pc:docMk/>
            <pc:sldMk cId="2205564651" sldId="4182"/>
            <ac:spMk id="16" creationId="{2AFBC224-F596-4C69-A87F-E567A6F3B1A2}"/>
          </ac:spMkLst>
        </pc:spChg>
        <pc:spChg chg="add mod">
          <ac:chgData name="Michael E" userId="5cf36b76a1ed2b08" providerId="LiveId" clId="{53E7B0FC-B760-446C-8D8C-6B730CF1930F}" dt="2021-06-25T09:49:39.434" v="5977" actId="20577"/>
          <ac:spMkLst>
            <pc:docMk/>
            <pc:sldMk cId="2205564651" sldId="4182"/>
            <ac:spMk id="17" creationId="{CA23A68F-6E8A-433A-86C4-0E31B220BD9B}"/>
          </ac:spMkLst>
        </pc:spChg>
        <pc:spChg chg="add mod">
          <ac:chgData name="Michael E" userId="5cf36b76a1ed2b08" providerId="LiveId" clId="{53E7B0FC-B760-446C-8D8C-6B730CF1930F}" dt="2021-06-25T09:40:34.407" v="4953" actId="14100"/>
          <ac:spMkLst>
            <pc:docMk/>
            <pc:sldMk cId="2205564651" sldId="4182"/>
            <ac:spMk id="18" creationId="{E253424D-6D95-421F-B447-0A247D24F60D}"/>
          </ac:spMkLst>
        </pc:spChg>
        <pc:spChg chg="add mod">
          <ac:chgData name="Michael E" userId="5cf36b76a1ed2b08" providerId="LiveId" clId="{53E7B0FC-B760-446C-8D8C-6B730CF1930F}" dt="2021-06-25T09:49:42.515" v="5978" actId="20577"/>
          <ac:spMkLst>
            <pc:docMk/>
            <pc:sldMk cId="2205564651" sldId="4182"/>
            <ac:spMk id="19" creationId="{5A5A4F76-C14E-45C4-85DB-BF2A34C47223}"/>
          </ac:spMkLst>
        </pc:spChg>
        <pc:spChg chg="add mod">
          <ac:chgData name="Michael E" userId="5cf36b76a1ed2b08" providerId="LiveId" clId="{53E7B0FC-B760-446C-8D8C-6B730CF1930F}" dt="2021-06-25T09:41:59.371" v="5152" actId="20577"/>
          <ac:spMkLst>
            <pc:docMk/>
            <pc:sldMk cId="2205564651" sldId="4182"/>
            <ac:spMk id="20" creationId="{66B887F7-7103-4AA5-998C-F20532BD980A}"/>
          </ac:spMkLst>
        </pc:spChg>
        <pc:spChg chg="del">
          <ac:chgData name="Michael E" userId="5cf36b76a1ed2b08" providerId="LiveId" clId="{53E7B0FC-B760-446C-8D8C-6B730CF1930F}" dt="2021-06-25T04:03:19.194" v="2520" actId="478"/>
          <ac:spMkLst>
            <pc:docMk/>
            <pc:sldMk cId="2205564651" sldId="4182"/>
            <ac:spMk id="20" creationId="{DB18C080-93D3-4CD1-9D24-950E8925A9C7}"/>
          </ac:spMkLst>
        </pc:spChg>
        <pc:spChg chg="add mod">
          <ac:chgData name="Michael E" userId="5cf36b76a1ed2b08" providerId="LiveId" clId="{53E7B0FC-B760-446C-8D8C-6B730CF1930F}" dt="2021-06-25T09:49:45.136" v="5979" actId="20577"/>
          <ac:spMkLst>
            <pc:docMk/>
            <pc:sldMk cId="2205564651" sldId="4182"/>
            <ac:spMk id="21" creationId="{55FF5727-5AF4-4697-930B-86126BD0C6B7}"/>
          </ac:spMkLst>
        </pc:spChg>
        <pc:spChg chg="del mod">
          <ac:chgData name="Michael E" userId="5cf36b76a1ed2b08" providerId="LiveId" clId="{53E7B0FC-B760-446C-8D8C-6B730CF1930F}" dt="2021-06-25T04:03:19.194" v="2520" actId="478"/>
          <ac:spMkLst>
            <pc:docMk/>
            <pc:sldMk cId="2205564651" sldId="4182"/>
            <ac:spMk id="21" creationId="{B2E75AFC-0A24-4011-B57A-E7DD3D1009FA}"/>
          </ac:spMkLst>
        </pc:spChg>
        <pc:spChg chg="add mod">
          <ac:chgData name="Michael E" userId="5cf36b76a1ed2b08" providerId="LiveId" clId="{53E7B0FC-B760-446C-8D8C-6B730CF1930F}" dt="2021-06-25T09:43:11.225" v="5334" actId="20577"/>
          <ac:spMkLst>
            <pc:docMk/>
            <pc:sldMk cId="2205564651" sldId="4182"/>
            <ac:spMk id="22" creationId="{698CA1AE-8C20-420C-B424-F2983D5F5488}"/>
          </ac:spMkLst>
        </pc:spChg>
        <pc:spChg chg="del">
          <ac:chgData name="Michael E" userId="5cf36b76a1ed2b08" providerId="LiveId" clId="{53E7B0FC-B760-446C-8D8C-6B730CF1930F}" dt="2021-06-25T04:03:19.194" v="2520" actId="478"/>
          <ac:spMkLst>
            <pc:docMk/>
            <pc:sldMk cId="2205564651" sldId="4182"/>
            <ac:spMk id="22" creationId="{71809B9B-0A5A-4B92-8612-B6215E724D1C}"/>
          </ac:spMkLst>
        </pc:spChg>
        <pc:spChg chg="del">
          <ac:chgData name="Michael E" userId="5cf36b76a1ed2b08" providerId="LiveId" clId="{53E7B0FC-B760-446C-8D8C-6B730CF1930F}" dt="2021-06-25T04:03:19.194" v="2520" actId="478"/>
          <ac:spMkLst>
            <pc:docMk/>
            <pc:sldMk cId="2205564651" sldId="4182"/>
            <ac:spMk id="23" creationId="{0FB16219-0BB5-4E96-9AA2-69EE5CCC4838}"/>
          </ac:spMkLst>
        </pc:spChg>
        <pc:spChg chg="add mod">
          <ac:chgData name="Michael E" userId="5cf36b76a1ed2b08" providerId="LiveId" clId="{53E7B0FC-B760-446C-8D8C-6B730CF1930F}" dt="2021-06-25T09:49:09.877" v="5971" actId="20577"/>
          <ac:spMkLst>
            <pc:docMk/>
            <pc:sldMk cId="2205564651" sldId="4182"/>
            <ac:spMk id="23" creationId="{A1D1AF60-F634-4595-87AC-EFFFCFE8802A}"/>
          </ac:spMkLst>
        </pc:spChg>
        <pc:spChg chg="add mod">
          <ac:chgData name="Michael E" userId="5cf36b76a1ed2b08" providerId="LiveId" clId="{53E7B0FC-B760-446C-8D8C-6B730CF1930F}" dt="2021-06-25T09:44:41.789" v="5588" actId="114"/>
          <ac:spMkLst>
            <pc:docMk/>
            <pc:sldMk cId="2205564651" sldId="4182"/>
            <ac:spMk id="24" creationId="{021A617E-0CAA-4ABA-A5A0-0F0D9475CAD9}"/>
          </ac:spMkLst>
        </pc:spChg>
        <pc:spChg chg="add mod">
          <ac:chgData name="Michael E" userId="5cf36b76a1ed2b08" providerId="LiveId" clId="{53E7B0FC-B760-446C-8D8C-6B730CF1930F}" dt="2021-06-25T10:07:33.104" v="6340" actId="1037"/>
          <ac:spMkLst>
            <pc:docMk/>
            <pc:sldMk cId="2205564651" sldId="4182"/>
            <ac:spMk id="25" creationId="{C429BA32-D4B8-4848-8568-B929C1B8162F}"/>
          </ac:spMkLst>
        </pc:spChg>
        <pc:spChg chg="add mod">
          <ac:chgData name="Michael E" userId="5cf36b76a1ed2b08" providerId="LiveId" clId="{53E7B0FC-B760-446C-8D8C-6B730CF1930F}" dt="2021-06-25T10:07:28.037" v="6328" actId="1037"/>
          <ac:spMkLst>
            <pc:docMk/>
            <pc:sldMk cId="2205564651" sldId="4182"/>
            <ac:spMk id="26" creationId="{56F1830C-76CB-445D-9E71-D375DB669A07}"/>
          </ac:spMkLst>
        </pc:spChg>
        <pc:spChg chg="add mod">
          <ac:chgData name="Michael E" userId="5cf36b76a1ed2b08" providerId="LiveId" clId="{53E7B0FC-B760-446C-8D8C-6B730CF1930F}" dt="2021-06-25T09:49:07.378" v="5969" actId="20577"/>
          <ac:spMkLst>
            <pc:docMk/>
            <pc:sldMk cId="2205564651" sldId="4182"/>
            <ac:spMk id="27" creationId="{00AF38C7-C39F-4AC8-8988-20E8BE205965}"/>
          </ac:spMkLst>
        </pc:spChg>
        <pc:spChg chg="add mod">
          <ac:chgData name="Michael E" userId="5cf36b76a1ed2b08" providerId="LiveId" clId="{53E7B0FC-B760-446C-8D8C-6B730CF1930F}" dt="2021-06-25T10:01:26.756" v="6206" actId="164"/>
          <ac:spMkLst>
            <pc:docMk/>
            <pc:sldMk cId="2205564651" sldId="4182"/>
            <ac:spMk id="28" creationId="{142F5C89-772E-468C-B05A-E0E5B4458550}"/>
          </ac:spMkLst>
        </pc:spChg>
        <pc:spChg chg="del">
          <ac:chgData name="Michael E" userId="5cf36b76a1ed2b08" providerId="LiveId" clId="{53E7B0FC-B760-446C-8D8C-6B730CF1930F}" dt="2021-06-25T04:03:33.727" v="2521" actId="478"/>
          <ac:spMkLst>
            <pc:docMk/>
            <pc:sldMk cId="2205564651" sldId="4182"/>
            <ac:spMk id="32" creationId="{50A486A7-CC54-4DC9-89DC-8E6BF0723284}"/>
          </ac:spMkLst>
        </pc:spChg>
        <pc:spChg chg="add mod">
          <ac:chgData name="Michael E" userId="5cf36b76a1ed2b08" providerId="LiveId" clId="{53E7B0FC-B760-446C-8D8C-6B730CF1930F}" dt="2021-06-25T10:06:03.851" v="6308" actId="1037"/>
          <ac:spMkLst>
            <pc:docMk/>
            <pc:sldMk cId="2205564651" sldId="4182"/>
            <ac:spMk id="40" creationId="{99660AB0-DDFE-4B9A-B73B-068BD9A13FA6}"/>
          </ac:spMkLst>
        </pc:spChg>
        <pc:spChg chg="add mod">
          <ac:chgData name="Michael E" userId="5cf36b76a1ed2b08" providerId="LiveId" clId="{53E7B0FC-B760-446C-8D8C-6B730CF1930F}" dt="2021-06-25T10:05:29.525" v="6282" actId="1037"/>
          <ac:spMkLst>
            <pc:docMk/>
            <pc:sldMk cId="2205564651" sldId="4182"/>
            <ac:spMk id="41" creationId="{C92920D9-20CC-464A-B6EE-3103AAE56E6C}"/>
          </ac:spMkLst>
        </pc:spChg>
        <pc:grpChg chg="add mod ord">
          <ac:chgData name="Michael E" userId="5cf36b76a1ed2b08" providerId="LiveId" clId="{53E7B0FC-B760-446C-8D8C-6B730CF1930F}" dt="2021-06-25T10:07:08.857" v="6311" actId="167"/>
          <ac:grpSpMkLst>
            <pc:docMk/>
            <pc:sldMk cId="2205564651" sldId="4182"/>
            <ac:grpSpMk id="46" creationId="{2905E307-E1C5-4690-99DE-295B2DC48FD1}"/>
          </ac:grpSpMkLst>
        </pc:grpChg>
        <pc:grpChg chg="add mod ord">
          <ac:chgData name="Michael E" userId="5cf36b76a1ed2b08" providerId="LiveId" clId="{53E7B0FC-B760-446C-8D8C-6B730CF1930F}" dt="2021-06-25T10:04:44.578" v="6218" actId="167"/>
          <ac:grpSpMkLst>
            <pc:docMk/>
            <pc:sldMk cId="2205564651" sldId="4182"/>
            <ac:grpSpMk id="47" creationId="{4CF18DEF-3FEC-4824-B3B8-6D340AC3656F}"/>
          </ac:grpSpMkLst>
        </pc:grpChg>
        <pc:grpChg chg="add mod ord">
          <ac:chgData name="Michael E" userId="5cf36b76a1ed2b08" providerId="LiveId" clId="{53E7B0FC-B760-446C-8D8C-6B730CF1930F}" dt="2021-06-25T10:07:21.830" v="6314" actId="1037"/>
          <ac:grpSpMkLst>
            <pc:docMk/>
            <pc:sldMk cId="2205564651" sldId="4182"/>
            <ac:grpSpMk id="48" creationId="{94AEFEEF-60B4-40EE-9A72-6FF84DBABE5A}"/>
          </ac:grpSpMkLst>
        </pc:grpChg>
        <pc:picChg chg="add del mod">
          <ac:chgData name="Michael E" userId="5cf36b76a1ed2b08" providerId="LiveId" clId="{53E7B0FC-B760-446C-8D8C-6B730CF1930F}" dt="2021-06-25T09:38:02.257" v="4754" actId="478"/>
          <ac:picMkLst>
            <pc:docMk/>
            <pc:sldMk cId="2205564651" sldId="4182"/>
            <ac:picMk id="3" creationId="{38014923-3BE8-4C06-93FB-79E8BA39F8F6}"/>
          </ac:picMkLst>
        </pc:picChg>
        <pc:picChg chg="add mod">
          <ac:chgData name="Michael E" userId="5cf36b76a1ed2b08" providerId="LiveId" clId="{53E7B0FC-B760-446C-8D8C-6B730CF1930F}" dt="2021-06-25T10:06:50.527" v="6309" actId="164"/>
          <ac:picMkLst>
            <pc:docMk/>
            <pc:sldMk cId="2205564651" sldId="4182"/>
            <ac:picMk id="6" creationId="{41EA724E-0153-4064-9CF4-F16974FAB5EB}"/>
          </ac:picMkLst>
        </pc:picChg>
        <pc:picChg chg="add del mod">
          <ac:chgData name="Michael E" userId="5cf36b76a1ed2b08" providerId="LiveId" clId="{53E7B0FC-B760-446C-8D8C-6B730CF1930F}" dt="2021-06-25T09:34:35.961" v="4724" actId="478"/>
          <ac:picMkLst>
            <pc:docMk/>
            <pc:sldMk cId="2205564651" sldId="4182"/>
            <ac:picMk id="8" creationId="{68194E90-B883-45D6-9AD7-BF0C46A513B3}"/>
          </ac:picMkLst>
        </pc:picChg>
        <pc:picChg chg="add mod ord">
          <ac:chgData name="Michael E" userId="5cf36b76a1ed2b08" providerId="LiveId" clId="{53E7B0FC-B760-446C-8D8C-6B730CF1930F}" dt="2021-06-25T10:07:12.307" v="6312" actId="167"/>
          <ac:picMkLst>
            <pc:docMk/>
            <pc:sldMk cId="2205564651" sldId="4182"/>
            <ac:picMk id="9" creationId="{6D0273BB-CCAE-4B33-9D32-0E9592107325}"/>
          </ac:picMkLst>
        </pc:picChg>
        <pc:picChg chg="add del mod">
          <ac:chgData name="Michael E" userId="5cf36b76a1ed2b08" providerId="LiveId" clId="{53E7B0FC-B760-446C-8D8C-6B730CF1930F}" dt="2021-06-25T09:48:31.865" v="5943" actId="21"/>
          <ac:picMkLst>
            <pc:docMk/>
            <pc:sldMk cId="2205564651" sldId="4182"/>
            <ac:picMk id="11" creationId="{3567D246-C06E-4308-ABDE-3892872A6275}"/>
          </ac:picMkLst>
        </pc:picChg>
        <pc:picChg chg="add del mod">
          <ac:chgData name="Michael E" userId="5cf36b76a1ed2b08" providerId="LiveId" clId="{53E7B0FC-B760-446C-8D8C-6B730CF1930F}" dt="2021-06-25T09:48:38.741" v="5945" actId="21"/>
          <ac:picMkLst>
            <pc:docMk/>
            <pc:sldMk cId="2205564651" sldId="4182"/>
            <ac:picMk id="29" creationId="{CC6808BC-9506-4889-97B3-953238CD0D7B}"/>
          </ac:picMkLst>
        </pc:picChg>
        <pc:picChg chg="add del mod">
          <ac:chgData name="Michael E" userId="5cf36b76a1ed2b08" providerId="LiveId" clId="{53E7B0FC-B760-446C-8D8C-6B730CF1930F}" dt="2021-06-25T09:48:40.674" v="5947" actId="21"/>
          <ac:picMkLst>
            <pc:docMk/>
            <pc:sldMk cId="2205564651" sldId="4182"/>
            <ac:picMk id="30" creationId="{4D046505-4CC1-423E-A962-7CCAEF7E0033}"/>
          </ac:picMkLst>
        </pc:picChg>
        <pc:picChg chg="add del mod">
          <ac:chgData name="Michael E" userId="5cf36b76a1ed2b08" providerId="LiveId" clId="{53E7B0FC-B760-446C-8D8C-6B730CF1930F}" dt="2021-06-25T09:48:42.128" v="5949" actId="21"/>
          <ac:picMkLst>
            <pc:docMk/>
            <pc:sldMk cId="2205564651" sldId="4182"/>
            <ac:picMk id="31" creationId="{E30090BD-CA03-4EAD-9DD2-C06F779367A3}"/>
          </ac:picMkLst>
        </pc:picChg>
        <pc:picChg chg="add del mod">
          <ac:chgData name="Michael E" userId="5cf36b76a1ed2b08" providerId="LiveId" clId="{53E7B0FC-B760-446C-8D8C-6B730CF1930F}" dt="2021-06-25T09:48:44.709" v="5954" actId="21"/>
          <ac:picMkLst>
            <pc:docMk/>
            <pc:sldMk cId="2205564651" sldId="4182"/>
            <ac:picMk id="32" creationId="{65998E9A-7233-4432-9077-23700CC5B741}"/>
          </ac:picMkLst>
        </pc:picChg>
        <pc:picChg chg="del">
          <ac:chgData name="Michael E" userId="5cf36b76a1ed2b08" providerId="LiveId" clId="{53E7B0FC-B760-446C-8D8C-6B730CF1930F}" dt="2021-06-25T04:03:37.615" v="2522" actId="478"/>
          <ac:picMkLst>
            <pc:docMk/>
            <pc:sldMk cId="2205564651" sldId="4182"/>
            <ac:picMk id="33" creationId="{4FF26DB8-47DF-4D08-88BA-D68ACB1E21FF}"/>
          </ac:picMkLst>
        </pc:picChg>
        <pc:picChg chg="add del mod">
          <ac:chgData name="Michael E" userId="5cf36b76a1ed2b08" providerId="LiveId" clId="{53E7B0FC-B760-446C-8D8C-6B730CF1930F}" dt="2021-06-25T09:48:45.755" v="5956" actId="21"/>
          <ac:picMkLst>
            <pc:docMk/>
            <pc:sldMk cId="2205564651" sldId="4182"/>
            <ac:picMk id="33" creationId="{F00FE603-7722-4C5C-803A-446A252DFF73}"/>
          </ac:picMkLst>
        </pc:picChg>
        <pc:picChg chg="add del mod">
          <ac:chgData name="Michael E" userId="5cf36b76a1ed2b08" providerId="LiveId" clId="{53E7B0FC-B760-446C-8D8C-6B730CF1930F}" dt="2021-06-25T09:48:46.636" v="5958" actId="21"/>
          <ac:picMkLst>
            <pc:docMk/>
            <pc:sldMk cId="2205564651" sldId="4182"/>
            <ac:picMk id="34" creationId="{96819651-D33F-4E56-863E-842809E9D28C}"/>
          </ac:picMkLst>
        </pc:picChg>
        <pc:picChg chg="add del mod">
          <ac:chgData name="Michael E" userId="5cf36b76a1ed2b08" providerId="LiveId" clId="{53E7B0FC-B760-446C-8D8C-6B730CF1930F}" dt="2021-06-25T09:48:47.866" v="5960" actId="21"/>
          <ac:picMkLst>
            <pc:docMk/>
            <pc:sldMk cId="2205564651" sldId="4182"/>
            <ac:picMk id="35" creationId="{68264D4C-8E0C-4D06-9413-02F6E36EDDEA}"/>
          </ac:picMkLst>
        </pc:picChg>
        <pc:picChg chg="add del mod">
          <ac:chgData name="Michael E" userId="5cf36b76a1ed2b08" providerId="LiveId" clId="{53E7B0FC-B760-446C-8D8C-6B730CF1930F}" dt="2021-06-25T09:48:48.911" v="5962" actId="21"/>
          <ac:picMkLst>
            <pc:docMk/>
            <pc:sldMk cId="2205564651" sldId="4182"/>
            <ac:picMk id="36" creationId="{0FA7F1DA-F013-4E00-8ED4-4C6DA910E9B7}"/>
          </ac:picMkLst>
        </pc:picChg>
        <pc:picChg chg="add del mod">
          <ac:chgData name="Michael E" userId="5cf36b76a1ed2b08" providerId="LiveId" clId="{53E7B0FC-B760-446C-8D8C-6B730CF1930F}" dt="2021-06-25T09:48:49.858" v="5964" actId="21"/>
          <ac:picMkLst>
            <pc:docMk/>
            <pc:sldMk cId="2205564651" sldId="4182"/>
            <ac:picMk id="37" creationId="{74C074D7-6828-4E8C-8B72-DA6A2E5F6F54}"/>
          </ac:picMkLst>
        </pc:picChg>
        <pc:picChg chg="add del mod">
          <ac:chgData name="Michael E" userId="5cf36b76a1ed2b08" providerId="LiveId" clId="{53E7B0FC-B760-446C-8D8C-6B730CF1930F}" dt="2021-06-25T09:48:50.860" v="5966" actId="21"/>
          <ac:picMkLst>
            <pc:docMk/>
            <pc:sldMk cId="2205564651" sldId="4182"/>
            <ac:picMk id="38" creationId="{AA561A8A-970B-4B8A-82A2-78CDEA2E772E}"/>
          </ac:picMkLst>
        </pc:picChg>
        <pc:picChg chg="add mod">
          <ac:chgData name="Michael E" userId="5cf36b76a1ed2b08" providerId="LiveId" clId="{53E7B0FC-B760-446C-8D8C-6B730CF1930F}" dt="2021-06-25T10:03:19.906" v="6213" actId="164"/>
          <ac:picMkLst>
            <pc:docMk/>
            <pc:sldMk cId="2205564651" sldId="4182"/>
            <ac:picMk id="39" creationId="{05EAA853-220B-48CF-9B00-DE4C6B20458E}"/>
          </ac:picMkLst>
        </pc:picChg>
        <pc:picChg chg="add del mod">
          <ac:chgData name="Michael E" userId="5cf36b76a1ed2b08" providerId="LiveId" clId="{53E7B0FC-B760-446C-8D8C-6B730CF1930F}" dt="2021-06-25T10:00:27.706" v="6197" actId="21"/>
          <ac:picMkLst>
            <pc:docMk/>
            <pc:sldMk cId="2205564651" sldId="4182"/>
            <ac:picMk id="42" creationId="{3196F093-1EB5-47BA-9E73-C4C048744A85}"/>
          </ac:picMkLst>
        </pc:picChg>
        <pc:picChg chg="add del mod">
          <ac:chgData name="Michael E" userId="5cf36b76a1ed2b08" providerId="LiveId" clId="{53E7B0FC-B760-446C-8D8C-6B730CF1930F}" dt="2021-06-25T10:00:33.086" v="6199" actId="21"/>
          <ac:picMkLst>
            <pc:docMk/>
            <pc:sldMk cId="2205564651" sldId="4182"/>
            <ac:picMk id="43" creationId="{9C10E20D-5E6D-4E07-99F4-6205FAC2065D}"/>
          </ac:picMkLst>
        </pc:picChg>
        <pc:picChg chg="add del mod">
          <ac:chgData name="Michael E" userId="5cf36b76a1ed2b08" providerId="LiveId" clId="{53E7B0FC-B760-446C-8D8C-6B730CF1930F}" dt="2021-06-25T10:00:36.749" v="6202" actId="21"/>
          <ac:picMkLst>
            <pc:docMk/>
            <pc:sldMk cId="2205564651" sldId="4182"/>
            <ac:picMk id="44" creationId="{A87F20DD-6F28-429B-A445-73051EF13C32}"/>
          </ac:picMkLst>
        </pc:picChg>
        <pc:picChg chg="add mod ord">
          <ac:chgData name="Michael E" userId="5cf36b76a1ed2b08" providerId="LiveId" clId="{53E7B0FC-B760-446C-8D8C-6B730CF1930F}" dt="2021-06-25T10:01:26.756" v="6206" actId="164"/>
          <ac:picMkLst>
            <pc:docMk/>
            <pc:sldMk cId="2205564651" sldId="4182"/>
            <ac:picMk id="45" creationId="{00FE776D-4499-4BE8-813F-840B6C1EB29C}"/>
          </ac:picMkLst>
        </pc:picChg>
      </pc:sldChg>
      <pc:sldChg chg="addSp delSp modSp add mod modTransition modAnim">
        <pc:chgData name="Michael E" userId="5cf36b76a1ed2b08" providerId="LiveId" clId="{53E7B0FC-B760-446C-8D8C-6B730CF1930F}" dt="2021-06-25T10:39:22.315" v="8098" actId="1076"/>
        <pc:sldMkLst>
          <pc:docMk/>
          <pc:sldMk cId="2388896460" sldId="4183"/>
        </pc:sldMkLst>
        <pc:spChg chg="del">
          <ac:chgData name="Michael E" userId="5cf36b76a1ed2b08" providerId="LiveId" clId="{53E7B0FC-B760-446C-8D8C-6B730CF1930F}" dt="2021-06-25T06:25:02.899" v="2553" actId="478"/>
          <ac:spMkLst>
            <pc:docMk/>
            <pc:sldMk cId="2388896460" sldId="4183"/>
            <ac:spMk id="3" creationId="{8452A011-28E3-49B4-AC6F-854C9F1262A3}"/>
          </ac:spMkLst>
        </pc:spChg>
        <pc:spChg chg="del mod">
          <ac:chgData name="Michael E" userId="5cf36b76a1ed2b08" providerId="LiveId" clId="{53E7B0FC-B760-446C-8D8C-6B730CF1930F}" dt="2021-06-25T06:25:02.899" v="2553" actId="478"/>
          <ac:spMkLst>
            <pc:docMk/>
            <pc:sldMk cId="2388896460" sldId="4183"/>
            <ac:spMk id="4" creationId="{D4D3B926-62B5-4B40-A8FA-52E8A0176B75}"/>
          </ac:spMkLst>
        </pc:spChg>
        <pc:spChg chg="mod">
          <ac:chgData name="Michael E" userId="5cf36b76a1ed2b08" providerId="LiveId" clId="{53E7B0FC-B760-446C-8D8C-6B730CF1930F}" dt="2021-06-25T04:03:56.615" v="2526" actId="108"/>
          <ac:spMkLst>
            <pc:docMk/>
            <pc:sldMk cId="2388896460" sldId="4183"/>
            <ac:spMk id="5" creationId="{53A7E79D-6CBC-44D1-9B7F-4FD4B1FC9D53}"/>
          </ac:spMkLst>
        </pc:spChg>
        <pc:spChg chg="del">
          <ac:chgData name="Michael E" userId="5cf36b76a1ed2b08" providerId="LiveId" clId="{53E7B0FC-B760-446C-8D8C-6B730CF1930F}" dt="2021-06-25T06:23:42.169" v="2538" actId="478"/>
          <ac:spMkLst>
            <pc:docMk/>
            <pc:sldMk cId="2388896460" sldId="4183"/>
            <ac:spMk id="6" creationId="{936193C1-277C-4DFA-A1DC-32EECDF8BF87}"/>
          </ac:spMkLst>
        </pc:spChg>
        <pc:spChg chg="del">
          <ac:chgData name="Michael E" userId="5cf36b76a1ed2b08" providerId="LiveId" clId="{53E7B0FC-B760-446C-8D8C-6B730CF1930F}" dt="2021-06-25T06:23:42.169" v="2538" actId="478"/>
          <ac:spMkLst>
            <pc:docMk/>
            <pc:sldMk cId="2388896460" sldId="4183"/>
            <ac:spMk id="7" creationId="{6313CA7F-F2B0-4D58-B96D-A884FCD949DA}"/>
          </ac:spMkLst>
        </pc:spChg>
        <pc:spChg chg="add mod">
          <ac:chgData name="Michael E" userId="5cf36b76a1ed2b08" providerId="LiveId" clId="{53E7B0FC-B760-446C-8D8C-6B730CF1930F}" dt="2021-06-25T06:23:42.413" v="2539"/>
          <ac:spMkLst>
            <pc:docMk/>
            <pc:sldMk cId="2388896460" sldId="4183"/>
            <ac:spMk id="8" creationId="{705002FF-F17A-4D1A-ABB1-5D2E433AF1DB}"/>
          </ac:spMkLst>
        </pc:spChg>
        <pc:spChg chg="add mod">
          <ac:chgData name="Michael E" userId="5cf36b76a1ed2b08" providerId="LiveId" clId="{53E7B0FC-B760-446C-8D8C-6B730CF1930F}" dt="2021-06-25T06:23:42.413" v="2539"/>
          <ac:spMkLst>
            <pc:docMk/>
            <pc:sldMk cId="2388896460" sldId="4183"/>
            <ac:spMk id="9" creationId="{C37C2B3B-FCE0-42BF-A522-1C1FEB7EA4CC}"/>
          </ac:spMkLst>
        </pc:spChg>
        <pc:spChg chg="add mod">
          <ac:chgData name="Michael E" userId="5cf36b76a1ed2b08" providerId="LiveId" clId="{53E7B0FC-B760-446C-8D8C-6B730CF1930F}" dt="2021-06-25T06:25:03.143" v="2554"/>
          <ac:spMkLst>
            <pc:docMk/>
            <pc:sldMk cId="2388896460" sldId="4183"/>
            <ac:spMk id="10" creationId="{ACA38B28-D28F-4CDE-8F9D-742505EA7750}"/>
          </ac:spMkLst>
        </pc:spChg>
        <pc:spChg chg="add mod">
          <ac:chgData name="Michael E" userId="5cf36b76a1ed2b08" providerId="LiveId" clId="{53E7B0FC-B760-446C-8D8C-6B730CF1930F}" dt="2021-06-25T06:25:03.143" v="2554"/>
          <ac:spMkLst>
            <pc:docMk/>
            <pc:sldMk cId="2388896460" sldId="4183"/>
            <ac:spMk id="11" creationId="{A34F5815-2DBD-4A08-BAF3-8D52D17F3088}"/>
          </ac:spMkLst>
        </pc:spChg>
        <pc:spChg chg="add mod">
          <ac:chgData name="Michael E" userId="5cf36b76a1ed2b08" providerId="LiveId" clId="{53E7B0FC-B760-446C-8D8C-6B730CF1930F}" dt="2021-06-25T10:30:32.265" v="7145" actId="1076"/>
          <ac:spMkLst>
            <pc:docMk/>
            <pc:sldMk cId="2388896460" sldId="4183"/>
            <ac:spMk id="13" creationId="{D22B4925-BA81-4C43-8AF8-4257137CF5C0}"/>
          </ac:spMkLst>
        </pc:spChg>
        <pc:spChg chg="add mod">
          <ac:chgData name="Michael E" userId="5cf36b76a1ed2b08" providerId="LiveId" clId="{53E7B0FC-B760-446C-8D8C-6B730CF1930F}" dt="2021-06-25T10:37:46.229" v="7929" actId="1076"/>
          <ac:spMkLst>
            <pc:docMk/>
            <pc:sldMk cId="2388896460" sldId="4183"/>
            <ac:spMk id="14" creationId="{2D80846E-BC9A-482F-BA09-9DEB18F18848}"/>
          </ac:spMkLst>
        </pc:spChg>
        <pc:spChg chg="add mod">
          <ac:chgData name="Michael E" userId="5cf36b76a1ed2b08" providerId="LiveId" clId="{53E7B0FC-B760-446C-8D8C-6B730CF1930F}" dt="2021-06-25T10:37:22.878" v="7925" actId="20577"/>
          <ac:spMkLst>
            <pc:docMk/>
            <pc:sldMk cId="2388896460" sldId="4183"/>
            <ac:spMk id="15" creationId="{7E8CC7BC-995C-43A9-9E7B-20C028D2D409}"/>
          </ac:spMkLst>
        </pc:spChg>
        <pc:spChg chg="add mod ord">
          <ac:chgData name="Michael E" userId="5cf36b76a1ed2b08" providerId="LiveId" clId="{53E7B0FC-B760-446C-8D8C-6B730CF1930F}" dt="2021-06-25T10:37:41.154" v="7928" actId="1076"/>
          <ac:spMkLst>
            <pc:docMk/>
            <pc:sldMk cId="2388896460" sldId="4183"/>
            <ac:spMk id="16" creationId="{B4F0E6D4-0FBD-4BD4-AED2-45783CCAD02E}"/>
          </ac:spMkLst>
        </pc:spChg>
        <pc:spChg chg="add mod">
          <ac:chgData name="Michael E" userId="5cf36b76a1ed2b08" providerId="LiveId" clId="{53E7B0FC-B760-446C-8D8C-6B730CF1930F}" dt="2021-06-25T10:37:18.652" v="7924" actId="20577"/>
          <ac:spMkLst>
            <pc:docMk/>
            <pc:sldMk cId="2388896460" sldId="4183"/>
            <ac:spMk id="17" creationId="{FC4FCE2A-E99B-48B4-AC73-913314983064}"/>
          </ac:spMkLst>
        </pc:spChg>
        <pc:spChg chg="add mod">
          <ac:chgData name="Michael E" userId="5cf36b76a1ed2b08" providerId="LiveId" clId="{53E7B0FC-B760-446C-8D8C-6B730CF1930F}" dt="2021-06-25T10:37:30.610" v="7926" actId="1076"/>
          <ac:spMkLst>
            <pc:docMk/>
            <pc:sldMk cId="2388896460" sldId="4183"/>
            <ac:spMk id="18" creationId="{5837AA73-A644-480C-9DF1-03D4516D0DE2}"/>
          </ac:spMkLst>
        </pc:spChg>
        <pc:spChg chg="add mod">
          <ac:chgData name="Michael E" userId="5cf36b76a1ed2b08" providerId="LiveId" clId="{53E7B0FC-B760-446C-8D8C-6B730CF1930F}" dt="2021-06-25T10:39:17.336" v="8097" actId="1076"/>
          <ac:spMkLst>
            <pc:docMk/>
            <pc:sldMk cId="2388896460" sldId="4183"/>
            <ac:spMk id="19" creationId="{7262539E-AFE9-45F0-999E-16EBE2A2E827}"/>
          </ac:spMkLst>
        </pc:spChg>
        <pc:spChg chg="add mod">
          <ac:chgData name="Michael E" userId="5cf36b76a1ed2b08" providerId="LiveId" clId="{53E7B0FC-B760-446C-8D8C-6B730CF1930F}" dt="2021-06-25T10:39:22.315" v="8098" actId="1076"/>
          <ac:spMkLst>
            <pc:docMk/>
            <pc:sldMk cId="2388896460" sldId="4183"/>
            <ac:spMk id="20" creationId="{8D2F335F-97D8-4D42-938A-A30113CA1670}"/>
          </ac:spMkLst>
        </pc:spChg>
        <pc:spChg chg="add mod">
          <ac:chgData name="Michael E" userId="5cf36b76a1ed2b08" providerId="LiveId" clId="{53E7B0FC-B760-446C-8D8C-6B730CF1930F}" dt="2021-06-25T10:37:59.622" v="7931" actId="1076"/>
          <ac:spMkLst>
            <pc:docMk/>
            <pc:sldMk cId="2388896460" sldId="4183"/>
            <ac:spMk id="21" creationId="{10F1A820-5F0A-4578-B2C8-5453C0365B30}"/>
          </ac:spMkLst>
        </pc:spChg>
        <pc:spChg chg="add mod">
          <ac:chgData name="Michael E" userId="5cf36b76a1ed2b08" providerId="LiveId" clId="{53E7B0FC-B760-446C-8D8C-6B730CF1930F}" dt="2021-06-25T10:38:45.006" v="8094" actId="20577"/>
          <ac:spMkLst>
            <pc:docMk/>
            <pc:sldMk cId="2388896460" sldId="4183"/>
            <ac:spMk id="22" creationId="{E4B4DE5E-1EAA-4699-AD36-D6FE8C6EA2CB}"/>
          </ac:spMkLst>
        </pc:spChg>
        <pc:picChg chg="add mod">
          <ac:chgData name="Michael E" userId="5cf36b76a1ed2b08" providerId="LiveId" clId="{53E7B0FC-B760-446C-8D8C-6B730CF1930F}" dt="2021-06-25T10:15:55.910" v="6361" actId="1036"/>
          <ac:picMkLst>
            <pc:docMk/>
            <pc:sldMk cId="2388896460" sldId="4183"/>
            <ac:picMk id="3" creationId="{9EB84450-52D3-4E27-B602-534A250FC5BA}"/>
          </ac:picMkLst>
        </pc:picChg>
        <pc:picChg chg="add del mod">
          <ac:chgData name="Michael E" userId="5cf36b76a1ed2b08" providerId="LiveId" clId="{53E7B0FC-B760-446C-8D8C-6B730CF1930F}" dt="2021-06-25T10:15:31.973" v="6345" actId="478"/>
          <ac:picMkLst>
            <pc:docMk/>
            <pc:sldMk cId="2388896460" sldId="4183"/>
            <ac:picMk id="12" creationId="{1E5B6D9B-32F8-4C6B-8549-FFA04736EEF9}"/>
          </ac:picMkLst>
        </pc:picChg>
      </pc:sldChg>
      <pc:sldChg chg="addSp delSp modSp add mod modTransition">
        <pc:chgData name="Michael E" userId="5cf36b76a1ed2b08" providerId="LiveId" clId="{53E7B0FC-B760-446C-8D8C-6B730CF1930F}" dt="2021-06-25T06:26:03.580" v="2562"/>
        <pc:sldMkLst>
          <pc:docMk/>
          <pc:sldMk cId="1974118881" sldId="4184"/>
        </pc:sldMkLst>
        <pc:spChg chg="del">
          <ac:chgData name="Michael E" userId="5cf36b76a1ed2b08" providerId="LiveId" clId="{53E7B0FC-B760-446C-8D8C-6B730CF1930F}" dt="2021-06-25T06:24:54.939" v="2551" actId="478"/>
          <ac:spMkLst>
            <pc:docMk/>
            <pc:sldMk cId="1974118881" sldId="4184"/>
            <ac:spMk id="3" creationId="{8452A011-28E3-49B4-AC6F-854C9F1262A3}"/>
          </ac:spMkLst>
        </pc:spChg>
        <pc:spChg chg="del mod">
          <ac:chgData name="Michael E" userId="5cf36b76a1ed2b08" providerId="LiveId" clId="{53E7B0FC-B760-446C-8D8C-6B730CF1930F}" dt="2021-06-25T06:24:54.939" v="2551" actId="478"/>
          <ac:spMkLst>
            <pc:docMk/>
            <pc:sldMk cId="1974118881" sldId="4184"/>
            <ac:spMk id="4" creationId="{D4D3B926-62B5-4B40-A8FA-52E8A0176B75}"/>
          </ac:spMkLst>
        </pc:spChg>
        <pc:spChg chg="del">
          <ac:chgData name="Michael E" userId="5cf36b76a1ed2b08" providerId="LiveId" clId="{53E7B0FC-B760-446C-8D8C-6B730CF1930F}" dt="2021-06-25T06:24:54.939" v="2551" actId="478"/>
          <ac:spMkLst>
            <pc:docMk/>
            <pc:sldMk cId="1974118881" sldId="4184"/>
            <ac:spMk id="5" creationId="{53A7E79D-6CBC-44D1-9B7F-4FD4B1FC9D53}"/>
          </ac:spMkLst>
        </pc:spChg>
        <pc:spChg chg="mod">
          <ac:chgData name="Michael E" userId="5cf36b76a1ed2b08" providerId="LiveId" clId="{53E7B0FC-B760-446C-8D8C-6B730CF1930F}" dt="2021-06-25T04:04:07.027" v="2528" actId="108"/>
          <ac:spMkLst>
            <pc:docMk/>
            <pc:sldMk cId="1974118881" sldId="4184"/>
            <ac:spMk id="6" creationId="{936193C1-277C-4DFA-A1DC-32EECDF8BF87}"/>
          </ac:spMkLst>
        </pc:spChg>
        <pc:spChg chg="del">
          <ac:chgData name="Michael E" userId="5cf36b76a1ed2b08" providerId="LiveId" clId="{53E7B0FC-B760-446C-8D8C-6B730CF1930F}" dt="2021-06-25T06:23:49.532" v="2540" actId="478"/>
          <ac:spMkLst>
            <pc:docMk/>
            <pc:sldMk cId="1974118881" sldId="4184"/>
            <ac:spMk id="7" creationId="{6313CA7F-F2B0-4D58-B96D-A884FCD949DA}"/>
          </ac:spMkLst>
        </pc:spChg>
        <pc:spChg chg="add mod">
          <ac:chgData name="Michael E" userId="5cf36b76a1ed2b08" providerId="LiveId" clId="{53E7B0FC-B760-446C-8D8C-6B730CF1930F}" dt="2021-06-25T06:23:49.755" v="2541"/>
          <ac:spMkLst>
            <pc:docMk/>
            <pc:sldMk cId="1974118881" sldId="4184"/>
            <ac:spMk id="8" creationId="{428DC1A2-B547-4209-AA90-7B886268D951}"/>
          </ac:spMkLst>
        </pc:spChg>
        <pc:spChg chg="add mod">
          <ac:chgData name="Michael E" userId="5cf36b76a1ed2b08" providerId="LiveId" clId="{53E7B0FC-B760-446C-8D8C-6B730CF1930F}" dt="2021-06-25T06:24:55.162" v="2552"/>
          <ac:spMkLst>
            <pc:docMk/>
            <pc:sldMk cId="1974118881" sldId="4184"/>
            <ac:spMk id="9" creationId="{97EF1A0C-E5F7-46E2-951F-59DEF6B6FA31}"/>
          </ac:spMkLst>
        </pc:spChg>
        <pc:spChg chg="add mod">
          <ac:chgData name="Michael E" userId="5cf36b76a1ed2b08" providerId="LiveId" clId="{53E7B0FC-B760-446C-8D8C-6B730CF1930F}" dt="2021-06-25T06:24:55.162" v="2552"/>
          <ac:spMkLst>
            <pc:docMk/>
            <pc:sldMk cId="1974118881" sldId="4184"/>
            <ac:spMk id="10" creationId="{DCDA2036-3E0E-40F0-B77C-2A564659A5B1}"/>
          </ac:spMkLst>
        </pc:spChg>
        <pc:spChg chg="add mod">
          <ac:chgData name="Michael E" userId="5cf36b76a1ed2b08" providerId="LiveId" clId="{53E7B0FC-B760-446C-8D8C-6B730CF1930F}" dt="2021-06-25T06:24:55.162" v="2552"/>
          <ac:spMkLst>
            <pc:docMk/>
            <pc:sldMk cId="1974118881" sldId="4184"/>
            <ac:spMk id="11" creationId="{57EF46BB-56B1-4B31-84F7-DFDA5D8261DA}"/>
          </ac:spMkLst>
        </pc:spChg>
      </pc:sldChg>
      <pc:sldChg chg="addSp delSp modSp add mod modTransition modAnim">
        <pc:chgData name="Michael E" userId="5cf36b76a1ed2b08" providerId="LiveId" clId="{53E7B0FC-B760-446C-8D8C-6B730CF1930F}" dt="2021-06-25T10:44:27.906" v="8408" actId="1076"/>
        <pc:sldMkLst>
          <pc:docMk/>
          <pc:sldMk cId="3103175215" sldId="4185"/>
        </pc:sldMkLst>
        <pc:spChg chg="mod">
          <ac:chgData name="Michael E" userId="5cf36b76a1ed2b08" providerId="LiveId" clId="{53E7B0FC-B760-446C-8D8C-6B730CF1930F}" dt="2021-06-25T06:24:48.333" v="2550"/>
          <ac:spMkLst>
            <pc:docMk/>
            <pc:sldMk cId="3103175215" sldId="4185"/>
            <ac:spMk id="3" creationId="{8452A011-28E3-49B4-AC6F-854C9F1262A3}"/>
          </ac:spMkLst>
        </pc:spChg>
        <pc:spChg chg="del mod">
          <ac:chgData name="Michael E" userId="5cf36b76a1ed2b08" providerId="LiveId" clId="{53E7B0FC-B760-446C-8D8C-6B730CF1930F}" dt="2021-06-25T06:24:38.089" v="2548" actId="478"/>
          <ac:spMkLst>
            <pc:docMk/>
            <pc:sldMk cId="3103175215" sldId="4185"/>
            <ac:spMk id="4" creationId="{D4D3B926-62B5-4B40-A8FA-52E8A0176B75}"/>
          </ac:spMkLst>
        </pc:spChg>
        <pc:spChg chg="del">
          <ac:chgData name="Michael E" userId="5cf36b76a1ed2b08" providerId="LiveId" clId="{53E7B0FC-B760-446C-8D8C-6B730CF1930F}" dt="2021-06-25T06:24:38.089" v="2548" actId="478"/>
          <ac:spMkLst>
            <pc:docMk/>
            <pc:sldMk cId="3103175215" sldId="4185"/>
            <ac:spMk id="5" creationId="{53A7E79D-6CBC-44D1-9B7F-4FD4B1FC9D53}"/>
          </ac:spMkLst>
        </pc:spChg>
        <pc:spChg chg="del">
          <ac:chgData name="Michael E" userId="5cf36b76a1ed2b08" providerId="LiveId" clId="{53E7B0FC-B760-446C-8D8C-6B730CF1930F}" dt="2021-06-25T06:24:38.089" v="2548" actId="478"/>
          <ac:spMkLst>
            <pc:docMk/>
            <pc:sldMk cId="3103175215" sldId="4185"/>
            <ac:spMk id="6" creationId="{936193C1-277C-4DFA-A1DC-32EECDF8BF87}"/>
          </ac:spMkLst>
        </pc:spChg>
        <pc:spChg chg="mod">
          <ac:chgData name="Michael E" userId="5cf36b76a1ed2b08" providerId="LiveId" clId="{53E7B0FC-B760-446C-8D8C-6B730CF1930F}" dt="2021-06-25T04:04:20.130" v="2530" actId="108"/>
          <ac:spMkLst>
            <pc:docMk/>
            <pc:sldMk cId="3103175215" sldId="4185"/>
            <ac:spMk id="7" creationId="{6313CA7F-F2B0-4D58-B96D-A884FCD949DA}"/>
          </ac:spMkLst>
        </pc:spChg>
        <pc:spChg chg="add mod">
          <ac:chgData name="Michael E" userId="5cf36b76a1ed2b08" providerId="LiveId" clId="{53E7B0FC-B760-446C-8D8C-6B730CF1930F}" dt="2021-06-25T06:24:38.341" v="2549"/>
          <ac:spMkLst>
            <pc:docMk/>
            <pc:sldMk cId="3103175215" sldId="4185"/>
            <ac:spMk id="8" creationId="{CADC75C4-18E9-4BCF-89A7-02FA6547366F}"/>
          </ac:spMkLst>
        </pc:spChg>
        <pc:spChg chg="add mod">
          <ac:chgData name="Michael E" userId="5cf36b76a1ed2b08" providerId="LiveId" clId="{53E7B0FC-B760-446C-8D8C-6B730CF1930F}" dt="2021-06-25T06:24:38.341" v="2549"/>
          <ac:spMkLst>
            <pc:docMk/>
            <pc:sldMk cId="3103175215" sldId="4185"/>
            <ac:spMk id="9" creationId="{434827A4-2B77-49D6-B2E2-588F11197F04}"/>
          </ac:spMkLst>
        </pc:spChg>
        <pc:spChg chg="add mod">
          <ac:chgData name="Michael E" userId="5cf36b76a1ed2b08" providerId="LiveId" clId="{53E7B0FC-B760-446C-8D8C-6B730CF1930F}" dt="2021-06-25T06:24:38.341" v="2549"/>
          <ac:spMkLst>
            <pc:docMk/>
            <pc:sldMk cId="3103175215" sldId="4185"/>
            <ac:spMk id="10" creationId="{E10E967D-4EE0-42BE-AD91-7AA2C1BEA90D}"/>
          </ac:spMkLst>
        </pc:spChg>
        <pc:spChg chg="add mod">
          <ac:chgData name="Michael E" userId="5cf36b76a1ed2b08" providerId="LiveId" clId="{53E7B0FC-B760-446C-8D8C-6B730CF1930F}" dt="2021-06-25T10:18:24.945" v="6386" actId="1076"/>
          <ac:spMkLst>
            <pc:docMk/>
            <pc:sldMk cId="3103175215" sldId="4185"/>
            <ac:spMk id="13" creationId="{F0D7C733-A5D8-4AA8-815A-0C8DB5E49207}"/>
          </ac:spMkLst>
        </pc:spChg>
        <pc:spChg chg="add mod">
          <ac:chgData name="Michael E" userId="5cf36b76a1ed2b08" providerId="LiveId" clId="{53E7B0FC-B760-446C-8D8C-6B730CF1930F}" dt="2021-06-25T10:21:56.140" v="6586" actId="20577"/>
          <ac:spMkLst>
            <pc:docMk/>
            <pc:sldMk cId="3103175215" sldId="4185"/>
            <ac:spMk id="14" creationId="{9A1DE905-83FD-4E91-B472-3753103A0D4F}"/>
          </ac:spMkLst>
        </pc:spChg>
        <pc:spChg chg="add mod">
          <ac:chgData name="Michael E" userId="5cf36b76a1ed2b08" providerId="LiveId" clId="{53E7B0FC-B760-446C-8D8C-6B730CF1930F}" dt="2021-06-25T10:26:07.947" v="6987" actId="20577"/>
          <ac:spMkLst>
            <pc:docMk/>
            <pc:sldMk cId="3103175215" sldId="4185"/>
            <ac:spMk id="16" creationId="{22378677-2746-4D29-B1EE-86C2FCFC5691}"/>
          </ac:spMkLst>
        </pc:spChg>
        <pc:spChg chg="add mod">
          <ac:chgData name="Michael E" userId="5cf36b76a1ed2b08" providerId="LiveId" clId="{53E7B0FC-B760-446C-8D8C-6B730CF1930F}" dt="2021-06-25T10:23:49.944" v="6727" actId="14100"/>
          <ac:spMkLst>
            <pc:docMk/>
            <pc:sldMk cId="3103175215" sldId="4185"/>
            <ac:spMk id="17" creationId="{B4AFD19E-DB75-4187-B4FA-86099A883D70}"/>
          </ac:spMkLst>
        </pc:spChg>
        <pc:spChg chg="add mod">
          <ac:chgData name="Michael E" userId="5cf36b76a1ed2b08" providerId="LiveId" clId="{53E7B0FC-B760-446C-8D8C-6B730CF1930F}" dt="2021-06-25T10:25:42.535" v="6976" actId="20577"/>
          <ac:spMkLst>
            <pc:docMk/>
            <pc:sldMk cId="3103175215" sldId="4185"/>
            <ac:spMk id="18" creationId="{4ABF0980-802D-47D4-BC14-FF73C35E7309}"/>
          </ac:spMkLst>
        </pc:spChg>
        <pc:spChg chg="add mod">
          <ac:chgData name="Michael E" userId="5cf36b76a1ed2b08" providerId="LiveId" clId="{53E7B0FC-B760-446C-8D8C-6B730CF1930F}" dt="2021-06-25T10:25:27.765" v="6975" actId="20577"/>
          <ac:spMkLst>
            <pc:docMk/>
            <pc:sldMk cId="3103175215" sldId="4185"/>
            <ac:spMk id="19" creationId="{30F66098-3922-417B-9502-177206EDBECB}"/>
          </ac:spMkLst>
        </pc:spChg>
        <pc:spChg chg="add mod ord">
          <ac:chgData name="Michael E" userId="5cf36b76a1ed2b08" providerId="LiveId" clId="{53E7B0FC-B760-446C-8D8C-6B730CF1930F}" dt="2021-06-25T10:29:30.407" v="7143" actId="166"/>
          <ac:spMkLst>
            <pc:docMk/>
            <pc:sldMk cId="3103175215" sldId="4185"/>
            <ac:spMk id="20" creationId="{2DE0663B-316B-48E9-89F2-7E373FC695D5}"/>
          </ac:spMkLst>
        </pc:spChg>
        <pc:spChg chg="add mod">
          <ac:chgData name="Michael E" userId="5cf36b76a1ed2b08" providerId="LiveId" clId="{53E7B0FC-B760-446C-8D8C-6B730CF1930F}" dt="2021-06-25T10:44:27.906" v="8408" actId="1076"/>
          <ac:spMkLst>
            <pc:docMk/>
            <pc:sldMk cId="3103175215" sldId="4185"/>
            <ac:spMk id="21" creationId="{C79D050D-B014-4377-A21F-A1ECCB625CB1}"/>
          </ac:spMkLst>
        </pc:spChg>
        <pc:grpChg chg="add mod">
          <ac:chgData name="Michael E" userId="5cf36b76a1ed2b08" providerId="LiveId" clId="{53E7B0FC-B760-446C-8D8C-6B730CF1930F}" dt="2021-06-25T10:28:27.857" v="7093" actId="164"/>
          <ac:grpSpMkLst>
            <pc:docMk/>
            <pc:sldMk cId="3103175215" sldId="4185"/>
            <ac:grpSpMk id="26" creationId="{9DD34EC9-DB2A-438F-836F-E0E778BBF4F3}"/>
          </ac:grpSpMkLst>
        </pc:grpChg>
        <pc:picChg chg="add del mod">
          <ac:chgData name="Michael E" userId="5cf36b76a1ed2b08" providerId="LiveId" clId="{53E7B0FC-B760-446C-8D8C-6B730CF1930F}" dt="2021-06-25T10:17:21.759" v="6366" actId="21"/>
          <ac:picMkLst>
            <pc:docMk/>
            <pc:sldMk cId="3103175215" sldId="4185"/>
            <ac:picMk id="4" creationId="{49038E5F-C2F6-4A21-B909-5C8C051C1139}"/>
          </ac:picMkLst>
        </pc:picChg>
        <pc:picChg chg="add del mod">
          <ac:chgData name="Michael E" userId="5cf36b76a1ed2b08" providerId="LiveId" clId="{53E7B0FC-B760-446C-8D8C-6B730CF1930F}" dt="2021-06-25T10:20:57.010" v="6410" actId="21"/>
          <ac:picMkLst>
            <pc:docMk/>
            <pc:sldMk cId="3103175215" sldId="4185"/>
            <ac:picMk id="6" creationId="{4A67065A-2BA5-48D6-B56D-C93D4B98998D}"/>
          </ac:picMkLst>
        </pc:picChg>
        <pc:picChg chg="add del mod">
          <ac:chgData name="Michael E" userId="5cf36b76a1ed2b08" providerId="LiveId" clId="{53E7B0FC-B760-446C-8D8C-6B730CF1930F}" dt="2021-06-25T10:17:10.491" v="6362" actId="478"/>
          <ac:picMkLst>
            <pc:docMk/>
            <pc:sldMk cId="3103175215" sldId="4185"/>
            <ac:picMk id="11" creationId="{3515F38E-DE3A-498C-B765-0FFA1F6A6308}"/>
          </ac:picMkLst>
        </pc:picChg>
        <pc:picChg chg="add del mod">
          <ac:chgData name="Michael E" userId="5cf36b76a1ed2b08" providerId="LiveId" clId="{53E7B0FC-B760-446C-8D8C-6B730CF1930F}" dt="2021-06-25T10:21:00.437" v="6411" actId="478"/>
          <ac:picMkLst>
            <pc:docMk/>
            <pc:sldMk cId="3103175215" sldId="4185"/>
            <ac:picMk id="12" creationId="{FBA6CA6F-A1B3-4974-8D57-350D43821760}"/>
          </ac:picMkLst>
        </pc:picChg>
        <pc:picChg chg="add mod ord">
          <ac:chgData name="Michael E" userId="5cf36b76a1ed2b08" providerId="LiveId" clId="{53E7B0FC-B760-446C-8D8C-6B730CF1930F}" dt="2021-06-25T10:28:14.708" v="7092" actId="167"/>
          <ac:picMkLst>
            <pc:docMk/>
            <pc:sldMk cId="3103175215" sldId="4185"/>
            <ac:picMk id="15" creationId="{B2844BA6-E2EF-49B4-B0DB-24F50E8F0951}"/>
          </ac:picMkLst>
        </pc:picChg>
        <pc:picChg chg="add del mod">
          <ac:chgData name="Michael E" userId="5cf36b76a1ed2b08" providerId="LiveId" clId="{53E7B0FC-B760-446C-8D8C-6B730CF1930F}" dt="2021-06-25T10:28:00.076" v="7087" actId="21"/>
          <ac:picMkLst>
            <pc:docMk/>
            <pc:sldMk cId="3103175215" sldId="4185"/>
            <ac:picMk id="23" creationId="{B625A05D-09ED-4EE8-8909-389A21E6665B}"/>
          </ac:picMkLst>
        </pc:picChg>
        <pc:picChg chg="add del mod">
          <ac:chgData name="Michael E" userId="5cf36b76a1ed2b08" providerId="LiveId" clId="{53E7B0FC-B760-446C-8D8C-6B730CF1930F}" dt="2021-06-25T10:28:02.899" v="7089" actId="21"/>
          <ac:picMkLst>
            <pc:docMk/>
            <pc:sldMk cId="3103175215" sldId="4185"/>
            <ac:picMk id="24" creationId="{D474A874-CBDF-4C91-AFBE-1D755F4E139D}"/>
          </ac:picMkLst>
        </pc:picChg>
        <pc:picChg chg="add mod ord">
          <ac:chgData name="Michael E" userId="5cf36b76a1ed2b08" providerId="LiveId" clId="{53E7B0FC-B760-446C-8D8C-6B730CF1930F}" dt="2021-06-25T10:28:27.857" v="7093" actId="164"/>
          <ac:picMkLst>
            <pc:docMk/>
            <pc:sldMk cId="3103175215" sldId="4185"/>
            <ac:picMk id="25" creationId="{CF024C63-6626-4856-BED5-A373B098884A}"/>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7A02FD-6B17-4F7F-BDF7-7EC22569ED6E}" type="datetimeFigureOut">
              <a:rPr lang="en-AU" smtClean="0"/>
              <a:t>12/07/2021</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4C1078-04BC-451E-A96E-E684FDEA27F7}" type="slidenum">
              <a:rPr lang="en-AU" smtClean="0"/>
              <a:t>‹#›</a:t>
            </a:fld>
            <a:endParaRPr lang="en-AU"/>
          </a:p>
        </p:txBody>
      </p:sp>
    </p:spTree>
    <p:extLst>
      <p:ext uri="{BB962C8B-B14F-4D97-AF65-F5344CB8AC3E}">
        <p14:creationId xmlns:p14="http://schemas.microsoft.com/office/powerpoint/2010/main" val="1706395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anding Page</a:t>
            </a:r>
          </a:p>
        </p:txBody>
      </p:sp>
      <p:sp>
        <p:nvSpPr>
          <p:cNvPr id="4" name="Slide Number Placeholder 3"/>
          <p:cNvSpPr>
            <a:spLocks noGrp="1"/>
          </p:cNvSpPr>
          <p:nvPr>
            <p:ph type="sldNum" sz="quarter" idx="5"/>
          </p:nvPr>
        </p:nvSpPr>
        <p:spPr/>
        <p:txBody>
          <a:bodyPr/>
          <a:lstStyle/>
          <a:p>
            <a:fld id="{B24C1078-04BC-451E-A96E-E684FDEA27F7}" type="slidenum">
              <a:rPr lang="en-AU" smtClean="0"/>
              <a:t>1</a:t>
            </a:fld>
            <a:endParaRPr lang="en-AU"/>
          </a:p>
        </p:txBody>
      </p:sp>
    </p:spTree>
    <p:extLst>
      <p:ext uri="{BB962C8B-B14F-4D97-AF65-F5344CB8AC3E}">
        <p14:creationId xmlns:p14="http://schemas.microsoft.com/office/powerpoint/2010/main" val="98522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Submitting an Order – Screen 1</a:t>
            </a:r>
          </a:p>
        </p:txBody>
      </p:sp>
      <p:sp>
        <p:nvSpPr>
          <p:cNvPr id="4" name="Slide Number Placeholder 3"/>
          <p:cNvSpPr>
            <a:spLocks noGrp="1"/>
          </p:cNvSpPr>
          <p:nvPr>
            <p:ph type="sldNum" sz="quarter" idx="5"/>
          </p:nvPr>
        </p:nvSpPr>
        <p:spPr/>
        <p:txBody>
          <a:bodyPr/>
          <a:lstStyle/>
          <a:p>
            <a:fld id="{B24C1078-04BC-451E-A96E-E684FDEA27F7}" type="slidenum">
              <a:rPr lang="en-AU" smtClean="0"/>
              <a:t>2</a:t>
            </a:fld>
            <a:endParaRPr lang="en-AU"/>
          </a:p>
        </p:txBody>
      </p:sp>
    </p:spTree>
    <p:extLst>
      <p:ext uri="{BB962C8B-B14F-4D97-AF65-F5344CB8AC3E}">
        <p14:creationId xmlns:p14="http://schemas.microsoft.com/office/powerpoint/2010/main" val="28663974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Submitting an Order – Screen 1</a:t>
            </a:r>
          </a:p>
        </p:txBody>
      </p:sp>
      <p:sp>
        <p:nvSpPr>
          <p:cNvPr id="4" name="Slide Number Placeholder 3"/>
          <p:cNvSpPr>
            <a:spLocks noGrp="1"/>
          </p:cNvSpPr>
          <p:nvPr>
            <p:ph type="sldNum" sz="quarter" idx="5"/>
          </p:nvPr>
        </p:nvSpPr>
        <p:spPr/>
        <p:txBody>
          <a:bodyPr/>
          <a:lstStyle/>
          <a:p>
            <a:fld id="{B24C1078-04BC-451E-A96E-E684FDEA27F7}" type="slidenum">
              <a:rPr lang="en-AU" smtClean="0"/>
              <a:t>3</a:t>
            </a:fld>
            <a:endParaRPr lang="en-AU"/>
          </a:p>
        </p:txBody>
      </p:sp>
    </p:spTree>
    <p:extLst>
      <p:ext uri="{BB962C8B-B14F-4D97-AF65-F5344CB8AC3E}">
        <p14:creationId xmlns:p14="http://schemas.microsoft.com/office/powerpoint/2010/main" val="1124438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B24C1078-04BC-451E-A96E-E684FDEA27F7}" type="slidenum">
              <a:rPr lang="en-AU" smtClean="0"/>
              <a:t>4</a:t>
            </a:fld>
            <a:endParaRPr lang="en-AU"/>
          </a:p>
        </p:txBody>
      </p:sp>
    </p:spTree>
    <p:extLst>
      <p:ext uri="{BB962C8B-B14F-4D97-AF65-F5344CB8AC3E}">
        <p14:creationId xmlns:p14="http://schemas.microsoft.com/office/powerpoint/2010/main" val="26017901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B24C1078-04BC-451E-A96E-E684FDEA27F7}" type="slidenum">
              <a:rPr lang="en-AU" smtClean="0"/>
              <a:t>5</a:t>
            </a:fld>
            <a:endParaRPr lang="en-AU"/>
          </a:p>
        </p:txBody>
      </p:sp>
    </p:spTree>
    <p:extLst>
      <p:ext uri="{BB962C8B-B14F-4D97-AF65-F5344CB8AC3E}">
        <p14:creationId xmlns:p14="http://schemas.microsoft.com/office/powerpoint/2010/main" val="1715086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B24C1078-04BC-451E-A96E-E684FDEA27F7}" type="slidenum">
              <a:rPr lang="en-AU" smtClean="0"/>
              <a:t>6</a:t>
            </a:fld>
            <a:endParaRPr lang="en-AU"/>
          </a:p>
        </p:txBody>
      </p:sp>
    </p:spTree>
    <p:extLst>
      <p:ext uri="{BB962C8B-B14F-4D97-AF65-F5344CB8AC3E}">
        <p14:creationId xmlns:p14="http://schemas.microsoft.com/office/powerpoint/2010/main" val="35660565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B24C1078-04BC-451E-A96E-E684FDEA27F7}" type="slidenum">
              <a:rPr lang="en-AU" smtClean="0"/>
              <a:t>7</a:t>
            </a:fld>
            <a:endParaRPr lang="en-AU"/>
          </a:p>
        </p:txBody>
      </p:sp>
    </p:spTree>
    <p:extLst>
      <p:ext uri="{BB962C8B-B14F-4D97-AF65-F5344CB8AC3E}">
        <p14:creationId xmlns:p14="http://schemas.microsoft.com/office/powerpoint/2010/main" val="27445058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B24C1078-04BC-451E-A96E-E684FDEA27F7}" type="slidenum">
              <a:rPr lang="en-AU" smtClean="0"/>
              <a:t>8</a:t>
            </a:fld>
            <a:endParaRPr lang="en-AU"/>
          </a:p>
        </p:txBody>
      </p:sp>
    </p:spTree>
    <p:extLst>
      <p:ext uri="{BB962C8B-B14F-4D97-AF65-F5344CB8AC3E}">
        <p14:creationId xmlns:p14="http://schemas.microsoft.com/office/powerpoint/2010/main" val="33879279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469122" y="3842853"/>
            <a:ext cx="10339755" cy="740284"/>
          </a:xfrm>
          <a:prstGeom prst="rect">
            <a:avLst/>
          </a:prstGeom>
        </p:spPr>
        <p:txBody>
          <a:bodyPr anchor="ctr"/>
          <a:lstStyle>
            <a:lvl1pPr>
              <a:defRPr lang="en-US" sz="3200" b="0" i="0" kern="1200" dirty="0">
                <a:solidFill>
                  <a:srgbClr val="324C52"/>
                </a:solidFill>
                <a:latin typeface="Montserrat Light" pitchFamily="2" charset="77"/>
                <a:ea typeface="+mn-ea"/>
                <a:cs typeface="Montserrat Light" pitchFamily="2" charset="77"/>
              </a:defRPr>
            </a:lvl1pPr>
          </a:lstStyle>
          <a:p>
            <a:pPr lvl="0"/>
            <a:r>
              <a:rPr lang="en-US" dirty="0"/>
              <a:t>CLICK TO EDIT MASTER TITLE STYLE</a:t>
            </a:r>
          </a:p>
        </p:txBody>
      </p:sp>
      <p:sp>
        <p:nvSpPr>
          <p:cNvPr id="3" name="Subtitle 2"/>
          <p:cNvSpPr>
            <a:spLocks noGrp="1"/>
          </p:cNvSpPr>
          <p:nvPr userDrawn="1">
            <p:ph type="subTitle" idx="1" hasCustomPrompt="1"/>
          </p:nvPr>
        </p:nvSpPr>
        <p:spPr>
          <a:xfrm>
            <a:off x="470879" y="4679565"/>
            <a:ext cx="8534400" cy="406810"/>
          </a:xfrm>
          <a:prstGeom prst="rect">
            <a:avLst/>
          </a:prstGeom>
        </p:spPr>
        <p:txBody>
          <a:bodyPr anchor="ctr"/>
          <a:lstStyle>
            <a:lvl1pPr marL="0" indent="0" algn="l">
              <a:buNone/>
              <a:defRPr lang="en-US" sz="2114" b="0" i="0" kern="1200" dirty="0">
                <a:solidFill>
                  <a:srgbClr val="AFE2E3"/>
                </a:solidFill>
                <a:latin typeface="Montserrat Light" pitchFamily="2" charset="77"/>
                <a:ea typeface="+mn-ea"/>
                <a:cs typeface="Montserrat Light" pitchFamily="2" charset="77"/>
              </a:defRPr>
            </a:lvl1pPr>
            <a:lvl2pPr marL="495286"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40" indent="0" algn="ctr">
              <a:buNone/>
              <a:defRPr>
                <a:solidFill>
                  <a:schemeClr val="tx1">
                    <a:tint val="75000"/>
                  </a:schemeClr>
                </a:solidFill>
              </a:defRPr>
            </a:lvl5pPr>
            <a:lvl6pPr marL="2476424" indent="0" algn="ctr">
              <a:buNone/>
              <a:defRPr>
                <a:solidFill>
                  <a:schemeClr val="tx1">
                    <a:tint val="75000"/>
                  </a:schemeClr>
                </a:solidFill>
              </a:defRPr>
            </a:lvl6pPr>
            <a:lvl7pPr marL="2971710" indent="0" algn="ctr">
              <a:buNone/>
              <a:defRPr>
                <a:solidFill>
                  <a:schemeClr val="tx1">
                    <a:tint val="75000"/>
                  </a:schemeClr>
                </a:solidFill>
              </a:defRPr>
            </a:lvl7pPr>
            <a:lvl8pPr marL="3466993" indent="0" algn="ctr">
              <a:buNone/>
              <a:defRPr>
                <a:solidFill>
                  <a:schemeClr val="tx1">
                    <a:tint val="75000"/>
                  </a:schemeClr>
                </a:solidFill>
              </a:defRPr>
            </a:lvl8pPr>
            <a:lvl9pPr marL="3962277" indent="0" algn="ctr">
              <a:buNone/>
              <a:defRPr>
                <a:solidFill>
                  <a:schemeClr val="tx1">
                    <a:tint val="75000"/>
                  </a:schemeClr>
                </a:solidFill>
              </a:defRPr>
            </a:lvl9pPr>
          </a:lstStyle>
          <a:p>
            <a:r>
              <a:rPr lang="en-US" dirty="0"/>
              <a:t>CLICK TO EDIT MASTER SUBTITLE STYLE</a:t>
            </a:r>
          </a:p>
        </p:txBody>
      </p:sp>
      <p:sp>
        <p:nvSpPr>
          <p:cNvPr id="7" name="Text Placeholder 8"/>
          <p:cNvSpPr>
            <a:spLocks noGrp="1"/>
          </p:cNvSpPr>
          <p:nvPr userDrawn="1">
            <p:ph type="body" sz="quarter" idx="10" hasCustomPrompt="1"/>
          </p:nvPr>
        </p:nvSpPr>
        <p:spPr>
          <a:xfrm>
            <a:off x="451344" y="5307491"/>
            <a:ext cx="4630614" cy="569789"/>
          </a:xfrm>
          <a:prstGeom prst="rect">
            <a:avLst/>
          </a:prstGeom>
        </p:spPr>
        <p:txBody>
          <a:bodyPr rtlCol="0" anchor="ctr">
            <a:noAutofit/>
          </a:bodyPr>
          <a:lstStyle>
            <a:lvl1pPr marL="371462" indent="-371462">
              <a:buNone/>
              <a:defRPr lang="en-AU" sz="1760" b="0" i="0" dirty="0" smtClean="0">
                <a:solidFill>
                  <a:srgbClr val="324C52"/>
                </a:solidFill>
                <a:latin typeface="Montserrat Light" pitchFamily="2" charset="77"/>
                <a:cs typeface="Montserrat Light" pitchFamily="2" charset="77"/>
              </a:defRPr>
            </a:lvl1pPr>
            <a:lvl2pPr>
              <a:defRPr lang="en-AU" dirty="0" smtClean="0"/>
            </a:lvl2pPr>
            <a:lvl3pPr>
              <a:defRPr lang="en-AU" dirty="0" smtClean="0"/>
            </a:lvl3pPr>
            <a:lvl4pPr>
              <a:defRPr lang="en-AU" dirty="0" smtClean="0"/>
            </a:lvl4pPr>
            <a:lvl5pPr>
              <a:defRPr lang="en-US" dirty="0"/>
            </a:lvl5pPr>
          </a:lstStyle>
          <a:p>
            <a:pPr lvl="0"/>
            <a:r>
              <a:rPr lang="en-US" dirty="0"/>
              <a:t>CLICK TO EDIT MASTER TEXT STYLES</a:t>
            </a:r>
          </a:p>
        </p:txBody>
      </p:sp>
    </p:spTree>
    <p:extLst>
      <p:ext uri="{BB962C8B-B14F-4D97-AF65-F5344CB8AC3E}">
        <p14:creationId xmlns:p14="http://schemas.microsoft.com/office/powerpoint/2010/main" val="23256835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411816" y="4406911"/>
            <a:ext cx="9914470" cy="1362075"/>
          </a:xfrm>
        </p:spPr>
        <p:txBody>
          <a:bodyPr anchor="t"/>
          <a:lstStyle>
            <a:lvl1pPr algn="l">
              <a:defRPr sz="3467" b="1" cap="all"/>
            </a:lvl1pPr>
          </a:lstStyle>
          <a:p>
            <a:r>
              <a:rPr lang="en-US"/>
              <a:t>Click to edit Master title style</a:t>
            </a:r>
          </a:p>
        </p:txBody>
      </p:sp>
      <p:sp>
        <p:nvSpPr>
          <p:cNvPr id="3" name="Text Placeholder 2"/>
          <p:cNvSpPr>
            <a:spLocks noGrp="1"/>
          </p:cNvSpPr>
          <p:nvPr>
            <p:ph type="body" idx="1" hasCustomPrompt="1"/>
          </p:nvPr>
        </p:nvSpPr>
        <p:spPr>
          <a:xfrm>
            <a:off x="1411816" y="2906713"/>
            <a:ext cx="9914470" cy="1500187"/>
          </a:xfrm>
          <a:prstGeom prst="rect">
            <a:avLst/>
          </a:prstGeom>
        </p:spPr>
        <p:txBody>
          <a:bodyPr anchor="b"/>
          <a:lstStyle>
            <a:lvl1pPr marL="0" indent="0">
              <a:buNone/>
              <a:defRPr sz="2167" b="0" i="0">
                <a:solidFill>
                  <a:srgbClr val="AFE2E3"/>
                </a:solidFill>
                <a:latin typeface="Montserrat Light" pitchFamily="2" charset="77"/>
              </a:defRPr>
            </a:lvl1pPr>
            <a:lvl2pPr marL="495286"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40" indent="0">
              <a:buNone/>
              <a:defRPr sz="1517">
                <a:solidFill>
                  <a:schemeClr val="tx1">
                    <a:tint val="75000"/>
                  </a:schemeClr>
                </a:solidFill>
              </a:defRPr>
            </a:lvl5pPr>
            <a:lvl6pPr marL="2476424" indent="0">
              <a:buNone/>
              <a:defRPr sz="1517">
                <a:solidFill>
                  <a:schemeClr val="tx1">
                    <a:tint val="75000"/>
                  </a:schemeClr>
                </a:solidFill>
              </a:defRPr>
            </a:lvl6pPr>
            <a:lvl7pPr marL="2971710" indent="0">
              <a:buNone/>
              <a:defRPr sz="1517">
                <a:solidFill>
                  <a:schemeClr val="tx1">
                    <a:tint val="75000"/>
                  </a:schemeClr>
                </a:solidFill>
              </a:defRPr>
            </a:lvl7pPr>
            <a:lvl8pPr marL="3466993" indent="0">
              <a:buNone/>
              <a:defRPr sz="1517">
                <a:solidFill>
                  <a:schemeClr val="tx1">
                    <a:tint val="75000"/>
                  </a:schemeClr>
                </a:solidFill>
              </a:defRPr>
            </a:lvl8pPr>
            <a:lvl9pPr marL="3962277" indent="0">
              <a:buNone/>
              <a:defRPr sz="1517">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2050713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wo Content - Title Only">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8A14F502-73D3-41F2-8D57-6368CF08E81C}"/>
              </a:ext>
            </a:extLst>
          </p:cNvPr>
          <p:cNvSpPr>
            <a:spLocks noGrp="1"/>
          </p:cNvSpPr>
          <p:nvPr>
            <p:ph type="title"/>
          </p:nvPr>
        </p:nvSpPr>
        <p:spPr bwMode="auto">
          <a:xfrm>
            <a:off x="476740" y="119428"/>
            <a:ext cx="993474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endParaRPr lang="en-US" altLang="en-US" dirty="0"/>
          </a:p>
        </p:txBody>
      </p:sp>
      <p:cxnSp>
        <p:nvCxnSpPr>
          <p:cNvPr id="27" name="Straight Connector 26">
            <a:extLst>
              <a:ext uri="{FF2B5EF4-FFF2-40B4-BE49-F238E27FC236}">
                <a16:creationId xmlns:a16="http://schemas.microsoft.com/office/drawing/2014/main" id="{DB8163C3-E4E0-46B4-A664-A20E8A4D199D}"/>
              </a:ext>
            </a:extLst>
          </p:cNvPr>
          <p:cNvCxnSpPr/>
          <p:nvPr userDrawn="1"/>
        </p:nvCxnSpPr>
        <p:spPr>
          <a:xfrm>
            <a:off x="590064" y="1273175"/>
            <a:ext cx="11129108"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Content Placeholder 8">
            <a:extLst>
              <a:ext uri="{FF2B5EF4-FFF2-40B4-BE49-F238E27FC236}">
                <a16:creationId xmlns:a16="http://schemas.microsoft.com/office/drawing/2014/main" id="{645C435A-C507-4F6F-A507-517DF69D3CF1}"/>
              </a:ext>
            </a:extLst>
          </p:cNvPr>
          <p:cNvSpPr>
            <a:spLocks noGrp="1"/>
          </p:cNvSpPr>
          <p:nvPr>
            <p:ph sz="quarter" idx="19" hasCustomPrompt="1"/>
          </p:nvPr>
        </p:nvSpPr>
        <p:spPr>
          <a:xfrm>
            <a:off x="10411487" y="119429"/>
            <a:ext cx="1471308" cy="468000"/>
          </a:xfrm>
          <a:prstGeom prst="rect">
            <a:avLst/>
          </a:prstGeom>
        </p:spPr>
        <p:txBody>
          <a:bodyPr anchor="ctr"/>
          <a:lstStyle>
            <a:lvl1pPr marL="0" indent="0">
              <a:lnSpc>
                <a:spcPct val="90000"/>
              </a:lnSpc>
              <a:spcBef>
                <a:spcPts val="0"/>
              </a:spcBef>
              <a:buNone/>
              <a:defRPr sz="1056" b="1" i="0">
                <a:solidFill>
                  <a:srgbClr val="0070C0"/>
                </a:solidFill>
                <a:latin typeface="+mj-lt"/>
                <a:cs typeface="Gill Sans MT"/>
              </a:defRPr>
            </a:lvl1pPr>
            <a:lvl2pPr marL="495286" indent="0">
              <a:buNone/>
              <a:defRPr sz="1517">
                <a:latin typeface="Gil sans"/>
                <a:cs typeface="Gil sans"/>
              </a:defRPr>
            </a:lvl2pPr>
            <a:lvl3pPr marL="990570" indent="0">
              <a:buNone/>
              <a:defRPr sz="1517">
                <a:latin typeface="Gil sans"/>
                <a:cs typeface="Gil sans"/>
              </a:defRPr>
            </a:lvl3pPr>
            <a:lvl4pPr marL="1485854" indent="0">
              <a:buNone/>
              <a:defRPr sz="1517">
                <a:latin typeface="Gil sans"/>
                <a:cs typeface="Gil sans"/>
              </a:defRPr>
            </a:lvl4pPr>
            <a:lvl5pPr marL="1981140" indent="0">
              <a:buNone/>
              <a:defRPr sz="1517">
                <a:latin typeface="Gil sans"/>
                <a:cs typeface="Gil sans"/>
              </a:defRPr>
            </a:lvl5pPr>
          </a:lstStyle>
          <a:p>
            <a:pPr lvl="0"/>
            <a:r>
              <a:rPr lang="en-US" dirty="0"/>
              <a:t>Insert Logo Here</a:t>
            </a:r>
          </a:p>
        </p:txBody>
      </p:sp>
      <p:pic>
        <p:nvPicPr>
          <p:cNvPr id="3" name="Picture 2" descr="A picture containing drawing&#10;&#10;Description automatically generated">
            <a:extLst>
              <a:ext uri="{FF2B5EF4-FFF2-40B4-BE49-F238E27FC236}">
                <a16:creationId xmlns:a16="http://schemas.microsoft.com/office/drawing/2014/main" id="{C648034E-35AD-4EAE-8A97-8839387182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9586" y="149646"/>
            <a:ext cx="3793210" cy="511533"/>
          </a:xfrm>
          <a:prstGeom prst="rect">
            <a:avLst/>
          </a:prstGeom>
        </p:spPr>
      </p:pic>
      <p:sp>
        <p:nvSpPr>
          <p:cNvPr id="12" name="Slide Number Placeholder 7">
            <a:extLst>
              <a:ext uri="{FF2B5EF4-FFF2-40B4-BE49-F238E27FC236}">
                <a16:creationId xmlns:a16="http://schemas.microsoft.com/office/drawing/2014/main" id="{C513BB4F-A7A0-47E1-A11B-BD70371D088C}"/>
              </a:ext>
            </a:extLst>
          </p:cNvPr>
          <p:cNvSpPr>
            <a:spLocks noGrp="1"/>
          </p:cNvSpPr>
          <p:nvPr>
            <p:ph type="sldNum" sz="quarter" idx="4"/>
          </p:nvPr>
        </p:nvSpPr>
        <p:spPr>
          <a:xfrm>
            <a:off x="1954" y="6546858"/>
            <a:ext cx="1303952" cy="191715"/>
          </a:xfrm>
          <a:prstGeom prst="rect">
            <a:avLst/>
          </a:prstGeom>
        </p:spPr>
        <p:txBody>
          <a:bodyPr vert="horz" wrap="square" lIns="91440" tIns="45720" rIns="91440" bIns="45720" numCol="1" anchor="t" anchorCtr="0" compatLnSpc="1">
            <a:prstTxWarp prst="textNoShape">
              <a:avLst/>
            </a:prstTxWarp>
          </a:bodyPr>
          <a:lstStyle>
            <a:lvl1pPr algn="r" eaLnBrk="1" hangingPunct="1">
              <a:defRPr sz="975" smtClean="0">
                <a:solidFill>
                  <a:srgbClr val="404040"/>
                </a:solidFill>
                <a:latin typeface="Gill Sans MT" panose="020B0502020104020203" pitchFamily="34" charset="0"/>
              </a:defRPr>
            </a:lvl1pPr>
          </a:lstStyle>
          <a:p>
            <a:pPr>
              <a:defRPr/>
            </a:pPr>
            <a:r>
              <a:rPr lang="en-US" altLang="en-US" dirty="0"/>
              <a:t>Page </a:t>
            </a:r>
            <a:fld id="{D5EA9222-0916-4156-8399-AF1F0E34C3B8}" type="slidenum">
              <a:rPr lang="en-US" altLang="en-US" smtClean="0"/>
              <a:pPr>
                <a:defRPr/>
              </a:pPr>
              <a:t>‹#›</a:t>
            </a:fld>
            <a:endParaRPr lang="en-US" altLang="en-US" dirty="0"/>
          </a:p>
        </p:txBody>
      </p:sp>
    </p:spTree>
    <p:extLst>
      <p:ext uri="{BB962C8B-B14F-4D97-AF65-F5344CB8AC3E}">
        <p14:creationId xmlns:p14="http://schemas.microsoft.com/office/powerpoint/2010/main" val="5947469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4F2FF0-7489-4C4C-9EC8-2059292ED1E2}"/>
              </a:ext>
            </a:extLst>
          </p:cNvPr>
          <p:cNvSpPr>
            <a:spLocks noGrp="1"/>
          </p:cNvSpPr>
          <p:nvPr>
            <p:ph type="ctrTitle" hasCustomPrompt="1"/>
          </p:nvPr>
        </p:nvSpPr>
        <p:spPr>
          <a:xfrm>
            <a:off x="578338" y="1122363"/>
            <a:ext cx="11188700" cy="2387600"/>
          </a:xfrm>
        </p:spPr>
        <p:txBody>
          <a:bodyPr anchor="b"/>
          <a:lstStyle>
            <a:lvl1pPr algn="ctr">
              <a:defRPr sz="4000"/>
            </a:lvl1pPr>
          </a:lstStyle>
          <a:p>
            <a:r>
              <a:rPr lang="en-US" dirty="0"/>
              <a:t>CLICK TO EDIT MASTER TITLE STYLE</a:t>
            </a:r>
            <a:endParaRPr lang="en-AU" dirty="0"/>
          </a:p>
        </p:txBody>
      </p:sp>
      <p:sp>
        <p:nvSpPr>
          <p:cNvPr id="3" name="Subtitle 2">
            <a:extLst>
              <a:ext uri="{FF2B5EF4-FFF2-40B4-BE49-F238E27FC236}">
                <a16:creationId xmlns:a16="http://schemas.microsoft.com/office/drawing/2014/main" id="{A6683B98-DBA3-40A2-8FC4-FB5BB2F8A67F}"/>
              </a:ext>
            </a:extLst>
          </p:cNvPr>
          <p:cNvSpPr>
            <a:spLocks noGrp="1"/>
          </p:cNvSpPr>
          <p:nvPr>
            <p:ph type="subTitle" idx="1" hasCustomPrompt="1"/>
          </p:nvPr>
        </p:nvSpPr>
        <p:spPr>
          <a:xfrm>
            <a:off x="1524000" y="3602038"/>
            <a:ext cx="9144000" cy="1655762"/>
          </a:xfrm>
        </p:spPr>
        <p:txBody>
          <a:bodyPr/>
          <a:lstStyle>
            <a:lvl1pPr marL="0" indent="0" algn="ctr">
              <a:buNone/>
              <a:defRPr sz="2400" b="0" i="0">
                <a:solidFill>
                  <a:srgbClr val="AFE2E3"/>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AU" dirty="0"/>
          </a:p>
        </p:txBody>
      </p:sp>
      <p:sp>
        <p:nvSpPr>
          <p:cNvPr id="4" name="Date Placeholder 3">
            <a:extLst>
              <a:ext uri="{FF2B5EF4-FFF2-40B4-BE49-F238E27FC236}">
                <a16:creationId xmlns:a16="http://schemas.microsoft.com/office/drawing/2014/main" id="{1ADC3ED5-A21F-46B0-B00D-A875BEF7C05D}"/>
              </a:ext>
            </a:extLst>
          </p:cNvPr>
          <p:cNvSpPr>
            <a:spLocks noGrp="1"/>
          </p:cNvSpPr>
          <p:nvPr>
            <p:ph type="dt" sz="half" idx="10"/>
          </p:nvPr>
        </p:nvSpPr>
        <p:spPr/>
        <p:txBody>
          <a:bodyPr/>
          <a:lstStyle/>
          <a:p>
            <a:fld id="{BC478A5E-5357-450E-A326-681470B4EF9C}" type="datetimeFigureOut">
              <a:rPr lang="en-AU" smtClean="0"/>
              <a:t>12/07/2021</a:t>
            </a:fld>
            <a:endParaRPr lang="en-AU" dirty="0"/>
          </a:p>
        </p:txBody>
      </p:sp>
      <p:sp>
        <p:nvSpPr>
          <p:cNvPr id="5" name="Footer Placeholder 4">
            <a:extLst>
              <a:ext uri="{FF2B5EF4-FFF2-40B4-BE49-F238E27FC236}">
                <a16:creationId xmlns:a16="http://schemas.microsoft.com/office/drawing/2014/main" id="{0B6BF4C0-90E5-4F09-95B3-E7B8333C4641}"/>
              </a:ext>
            </a:extLst>
          </p:cNvPr>
          <p:cNvSpPr>
            <a:spLocks noGrp="1"/>
          </p:cNvSpPr>
          <p:nvPr>
            <p:ph type="ftr" sz="quarter" idx="11"/>
          </p:nvPr>
        </p:nvSpPr>
        <p:spPr/>
        <p:txBody>
          <a:bodyPr/>
          <a:lstStyle/>
          <a:p>
            <a:endParaRPr lang="en-AU" dirty="0"/>
          </a:p>
        </p:txBody>
      </p:sp>
      <p:sp>
        <p:nvSpPr>
          <p:cNvPr id="6" name="Slide Number Placeholder 5">
            <a:extLst>
              <a:ext uri="{FF2B5EF4-FFF2-40B4-BE49-F238E27FC236}">
                <a16:creationId xmlns:a16="http://schemas.microsoft.com/office/drawing/2014/main" id="{2A5D3D26-F942-4BD0-9B29-1C73F935738E}"/>
              </a:ext>
            </a:extLst>
          </p:cNvPr>
          <p:cNvSpPr>
            <a:spLocks noGrp="1"/>
          </p:cNvSpPr>
          <p:nvPr>
            <p:ph type="sldNum" sz="quarter" idx="12"/>
          </p:nvPr>
        </p:nvSpPr>
        <p:spPr/>
        <p:txBody>
          <a:bodyPr/>
          <a:lstStyle/>
          <a:p>
            <a:fld id="{6F972A61-46DA-491D-B929-9FF96FEB4D6E}" type="slidenum">
              <a:rPr lang="en-AU" smtClean="0"/>
              <a:t>‹#›</a:t>
            </a:fld>
            <a:endParaRPr lang="en-AU"/>
          </a:p>
        </p:txBody>
      </p:sp>
    </p:spTree>
    <p:extLst>
      <p:ext uri="{BB962C8B-B14F-4D97-AF65-F5344CB8AC3E}">
        <p14:creationId xmlns:p14="http://schemas.microsoft.com/office/powerpoint/2010/main" val="40328212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6">
            <a:extLst>
              <a:ext uri="{FF2B5EF4-FFF2-40B4-BE49-F238E27FC236}">
                <a16:creationId xmlns:a16="http://schemas.microsoft.com/office/drawing/2014/main" id="{9B55305A-40F8-49D9-BFBC-86D258BF8553}"/>
              </a:ext>
            </a:extLst>
          </p:cNvPr>
          <p:cNvGraphicFramePr>
            <a:graphicFrameLocks noChangeAspect="1"/>
          </p:cNvGraphicFramePr>
          <p:nvPr>
            <p:custDataLst>
              <p:tags r:id="rId6"/>
            </p:custDataLst>
          </p:nvPr>
        </p:nvGraphicFramePr>
        <p:xfrm>
          <a:off x="1959" y="1596"/>
          <a:ext cx="1953" cy="1587"/>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1026" name="Object 16">
                        <a:extLst>
                          <a:ext uri="{FF2B5EF4-FFF2-40B4-BE49-F238E27FC236}">
                            <a16:creationId xmlns:a16="http://schemas.microsoft.com/office/drawing/2014/main" id="{9B55305A-40F8-49D9-BFBC-86D258BF855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59" y="1596"/>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a:extLst>
              <a:ext uri="{FF2B5EF4-FFF2-40B4-BE49-F238E27FC236}">
                <a16:creationId xmlns:a16="http://schemas.microsoft.com/office/drawing/2014/main" id="{6C18F1AA-C7BC-4678-81B0-08193E6C9A47}"/>
              </a:ext>
            </a:extLst>
          </p:cNvPr>
          <p:cNvSpPr>
            <a:spLocks noGrp="1"/>
          </p:cNvSpPr>
          <p:nvPr>
            <p:ph type="title"/>
          </p:nvPr>
        </p:nvSpPr>
        <p:spPr bwMode="auto">
          <a:xfrm>
            <a:off x="476742" y="482608"/>
            <a:ext cx="11390923"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endParaRPr lang="en-US" altLang="en-US" dirty="0"/>
          </a:p>
        </p:txBody>
      </p:sp>
      <p:sp>
        <p:nvSpPr>
          <p:cNvPr id="8" name="Slide Number Placeholder 7">
            <a:extLst>
              <a:ext uri="{FF2B5EF4-FFF2-40B4-BE49-F238E27FC236}">
                <a16:creationId xmlns:a16="http://schemas.microsoft.com/office/drawing/2014/main" id="{475B4ED8-7FE3-45CB-B915-18E1EF3A7103}"/>
              </a:ext>
            </a:extLst>
          </p:cNvPr>
          <p:cNvSpPr>
            <a:spLocks noGrp="1"/>
          </p:cNvSpPr>
          <p:nvPr>
            <p:ph type="sldNum" sz="quarter" idx="4"/>
          </p:nvPr>
        </p:nvSpPr>
        <p:spPr>
          <a:xfrm>
            <a:off x="1954" y="6546858"/>
            <a:ext cx="576384" cy="182563"/>
          </a:xfrm>
          <a:prstGeom prst="rect">
            <a:avLst/>
          </a:prstGeom>
        </p:spPr>
        <p:txBody>
          <a:bodyPr vert="horz" wrap="square" lIns="91440" tIns="45720" rIns="91440" bIns="45720" numCol="1" anchor="t" anchorCtr="0" compatLnSpc="1">
            <a:prstTxWarp prst="textNoShape">
              <a:avLst/>
            </a:prstTxWarp>
          </a:bodyPr>
          <a:lstStyle>
            <a:lvl1pPr algn="r" eaLnBrk="1" hangingPunct="1">
              <a:defRPr sz="975" b="0" i="0" smtClean="0">
                <a:solidFill>
                  <a:srgbClr val="324C52"/>
                </a:solidFill>
                <a:latin typeface="Montserrat" pitchFamily="2" charset="77"/>
              </a:defRPr>
            </a:lvl1pPr>
          </a:lstStyle>
          <a:p>
            <a:pPr>
              <a:defRPr/>
            </a:pPr>
            <a:fld id="{D5EA9222-0916-4156-8399-AF1F0E34C3B8}" type="slidenum">
              <a:rPr lang="en-US" altLang="en-US" smtClean="0"/>
              <a:pPr>
                <a:defRPr/>
              </a:pPr>
              <a:t>‹#›</a:t>
            </a:fld>
            <a:endParaRPr lang="en-US" altLang="en-US" dirty="0"/>
          </a:p>
        </p:txBody>
      </p:sp>
    </p:spTree>
    <p:extLst>
      <p:ext uri="{BB962C8B-B14F-4D97-AF65-F5344CB8AC3E}">
        <p14:creationId xmlns:p14="http://schemas.microsoft.com/office/powerpoint/2010/main" val="3880138426"/>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71" r:id="rId4"/>
  </p:sldLayoutIdLst>
  <p:hf hdr="0" ftr="0" dt="0"/>
  <p:txStyles>
    <p:titleStyle>
      <a:lvl1pPr algn="l" defTabSz="495286" rtl="0" eaLnBrk="0" fontAlgn="base" hangingPunct="0">
        <a:lnSpc>
          <a:spcPct val="90000"/>
        </a:lnSpc>
        <a:spcBef>
          <a:spcPct val="0"/>
        </a:spcBef>
        <a:spcAft>
          <a:spcPct val="0"/>
        </a:spcAft>
        <a:defRPr sz="3600" b="0" i="0" kern="1200">
          <a:solidFill>
            <a:srgbClr val="324C52"/>
          </a:solidFill>
          <a:latin typeface="Montserrat Light" pitchFamily="2" charset="77"/>
          <a:ea typeface="Montserrat Light" pitchFamily="2" charset="77"/>
          <a:cs typeface="Gill Sans Light"/>
        </a:defRPr>
      </a:lvl1pPr>
      <a:lvl2pPr algn="l" defTabSz="495286" rtl="0" eaLnBrk="0" fontAlgn="base" hangingPunct="0">
        <a:lnSpc>
          <a:spcPct val="90000"/>
        </a:lnSpc>
        <a:spcBef>
          <a:spcPct val="0"/>
        </a:spcBef>
        <a:spcAft>
          <a:spcPct val="0"/>
        </a:spcAft>
        <a:defRPr sz="2600">
          <a:solidFill>
            <a:schemeClr val="tx1"/>
          </a:solidFill>
          <a:latin typeface="Arial" pitchFamily="34" charset="0"/>
          <a:ea typeface="Gill Sans Light"/>
          <a:cs typeface="Gill Sans Light"/>
        </a:defRPr>
      </a:lvl2pPr>
      <a:lvl3pPr algn="l" defTabSz="495286" rtl="0" eaLnBrk="0" fontAlgn="base" hangingPunct="0">
        <a:lnSpc>
          <a:spcPct val="90000"/>
        </a:lnSpc>
        <a:spcBef>
          <a:spcPct val="0"/>
        </a:spcBef>
        <a:spcAft>
          <a:spcPct val="0"/>
        </a:spcAft>
        <a:defRPr sz="2600">
          <a:solidFill>
            <a:schemeClr val="tx1"/>
          </a:solidFill>
          <a:latin typeface="Arial" pitchFamily="34" charset="0"/>
          <a:ea typeface="Gill Sans Light"/>
          <a:cs typeface="Gill Sans Light"/>
        </a:defRPr>
      </a:lvl3pPr>
      <a:lvl4pPr algn="l" defTabSz="495286" rtl="0" eaLnBrk="0" fontAlgn="base" hangingPunct="0">
        <a:lnSpc>
          <a:spcPct val="90000"/>
        </a:lnSpc>
        <a:spcBef>
          <a:spcPct val="0"/>
        </a:spcBef>
        <a:spcAft>
          <a:spcPct val="0"/>
        </a:spcAft>
        <a:defRPr sz="2600">
          <a:solidFill>
            <a:schemeClr val="tx1"/>
          </a:solidFill>
          <a:latin typeface="Arial" pitchFamily="34" charset="0"/>
          <a:ea typeface="Gill Sans Light"/>
          <a:cs typeface="Gill Sans Light"/>
        </a:defRPr>
      </a:lvl4pPr>
      <a:lvl5pPr algn="l" defTabSz="495286" rtl="0" eaLnBrk="0" fontAlgn="base" hangingPunct="0">
        <a:lnSpc>
          <a:spcPct val="90000"/>
        </a:lnSpc>
        <a:spcBef>
          <a:spcPct val="0"/>
        </a:spcBef>
        <a:spcAft>
          <a:spcPct val="0"/>
        </a:spcAft>
        <a:defRPr sz="2600">
          <a:solidFill>
            <a:schemeClr val="tx1"/>
          </a:solidFill>
          <a:latin typeface="Arial" pitchFamily="34" charset="0"/>
          <a:ea typeface="Gill Sans Light"/>
          <a:cs typeface="Gill Sans Light"/>
        </a:defRPr>
      </a:lvl5pPr>
      <a:lvl6pPr marL="495286" algn="l" defTabSz="495286" rtl="0" fontAlgn="base">
        <a:lnSpc>
          <a:spcPct val="90000"/>
        </a:lnSpc>
        <a:spcBef>
          <a:spcPct val="0"/>
        </a:spcBef>
        <a:spcAft>
          <a:spcPct val="0"/>
        </a:spcAft>
        <a:defRPr sz="2600">
          <a:solidFill>
            <a:schemeClr val="tx1"/>
          </a:solidFill>
          <a:latin typeface="Arial" pitchFamily="34" charset="0"/>
          <a:ea typeface="Gill Sans Light"/>
          <a:cs typeface="Gill Sans Light"/>
        </a:defRPr>
      </a:lvl6pPr>
      <a:lvl7pPr marL="990570" algn="l" defTabSz="495286" rtl="0" fontAlgn="base">
        <a:lnSpc>
          <a:spcPct val="90000"/>
        </a:lnSpc>
        <a:spcBef>
          <a:spcPct val="0"/>
        </a:spcBef>
        <a:spcAft>
          <a:spcPct val="0"/>
        </a:spcAft>
        <a:defRPr sz="2600">
          <a:solidFill>
            <a:schemeClr val="tx1"/>
          </a:solidFill>
          <a:latin typeface="Arial" pitchFamily="34" charset="0"/>
          <a:ea typeface="Gill Sans Light"/>
          <a:cs typeface="Gill Sans Light"/>
        </a:defRPr>
      </a:lvl7pPr>
      <a:lvl8pPr marL="1485854" algn="l" defTabSz="495286" rtl="0" fontAlgn="base">
        <a:lnSpc>
          <a:spcPct val="90000"/>
        </a:lnSpc>
        <a:spcBef>
          <a:spcPct val="0"/>
        </a:spcBef>
        <a:spcAft>
          <a:spcPct val="0"/>
        </a:spcAft>
        <a:defRPr sz="2600">
          <a:solidFill>
            <a:schemeClr val="tx1"/>
          </a:solidFill>
          <a:latin typeface="Arial" pitchFamily="34" charset="0"/>
          <a:ea typeface="Gill Sans Light"/>
          <a:cs typeface="Gill Sans Light"/>
        </a:defRPr>
      </a:lvl8pPr>
      <a:lvl9pPr marL="1981140" algn="l" defTabSz="495286" rtl="0" fontAlgn="base">
        <a:lnSpc>
          <a:spcPct val="90000"/>
        </a:lnSpc>
        <a:spcBef>
          <a:spcPct val="0"/>
        </a:spcBef>
        <a:spcAft>
          <a:spcPct val="0"/>
        </a:spcAft>
        <a:defRPr sz="2600">
          <a:solidFill>
            <a:schemeClr val="tx1"/>
          </a:solidFill>
          <a:latin typeface="Arial" pitchFamily="34" charset="0"/>
          <a:ea typeface="Gill Sans Light"/>
          <a:cs typeface="Gill Sans Light"/>
        </a:defRPr>
      </a:lvl9pPr>
    </p:titleStyle>
    <p:bodyStyle>
      <a:lvl1pPr marL="371462" indent="-371462" algn="l" defTabSz="495286" rtl="0" eaLnBrk="0" fontAlgn="base" hangingPunct="0">
        <a:spcBef>
          <a:spcPct val="20000"/>
        </a:spcBef>
        <a:spcAft>
          <a:spcPct val="0"/>
        </a:spcAft>
        <a:buFont typeface="Arial" panose="020B0604020202020204" pitchFamily="34" charset="0"/>
        <a:buChar char="•"/>
        <a:defRPr sz="1517" kern="1200">
          <a:solidFill>
            <a:schemeClr val="tx1"/>
          </a:solidFill>
          <a:latin typeface="Arial"/>
          <a:ea typeface="+mn-ea"/>
          <a:cs typeface="Arial"/>
        </a:defRPr>
      </a:lvl1pPr>
      <a:lvl2pPr marL="804839" indent="-309553" algn="l" defTabSz="495286" rtl="0" eaLnBrk="0" fontAlgn="base" hangingPunct="0">
        <a:spcBef>
          <a:spcPct val="20000"/>
        </a:spcBef>
        <a:spcAft>
          <a:spcPct val="0"/>
        </a:spcAft>
        <a:buFont typeface="Arial" panose="020B0604020202020204" pitchFamily="34" charset="0"/>
        <a:buChar char="–"/>
        <a:defRPr sz="1517" kern="1200">
          <a:solidFill>
            <a:schemeClr val="tx1"/>
          </a:solidFill>
          <a:latin typeface="Arial"/>
          <a:ea typeface="+mn-ea"/>
          <a:cs typeface="Arial"/>
        </a:defRPr>
      </a:lvl2pPr>
      <a:lvl3pPr marL="1238211" indent="-247643" algn="l" defTabSz="495286" rtl="0" eaLnBrk="0" fontAlgn="base" hangingPunct="0">
        <a:spcBef>
          <a:spcPct val="20000"/>
        </a:spcBef>
        <a:spcAft>
          <a:spcPct val="0"/>
        </a:spcAft>
        <a:buFont typeface="Lucida Grande"/>
        <a:buChar char="–"/>
        <a:defRPr sz="1300" kern="1200">
          <a:solidFill>
            <a:schemeClr val="tx1"/>
          </a:solidFill>
          <a:latin typeface="Arial"/>
          <a:ea typeface="+mn-ea"/>
          <a:cs typeface="Arial"/>
        </a:defRPr>
      </a:lvl3pPr>
      <a:lvl4pPr marL="1733497" indent="-247643" algn="l" defTabSz="495286" rtl="0" eaLnBrk="0" fontAlgn="base" hangingPunct="0">
        <a:spcBef>
          <a:spcPct val="20000"/>
        </a:spcBef>
        <a:spcAft>
          <a:spcPct val="0"/>
        </a:spcAft>
        <a:buFont typeface="Arial" panose="020B0604020202020204" pitchFamily="34" charset="0"/>
        <a:buChar char="–"/>
        <a:defRPr sz="1192" kern="1200">
          <a:solidFill>
            <a:schemeClr val="tx1"/>
          </a:solidFill>
          <a:latin typeface="Arial"/>
          <a:ea typeface="+mn-ea"/>
          <a:cs typeface="Arial"/>
        </a:defRPr>
      </a:lvl4pPr>
      <a:lvl5pPr marL="2228783" indent="-247643" algn="l" defTabSz="495286" rtl="0" eaLnBrk="0" fontAlgn="base" hangingPunct="0">
        <a:spcBef>
          <a:spcPct val="20000"/>
        </a:spcBef>
        <a:spcAft>
          <a:spcPct val="0"/>
        </a:spcAft>
        <a:buFont typeface="Arial" panose="020B0604020202020204" pitchFamily="34" charset="0"/>
        <a:buChar char="»"/>
        <a:defRPr sz="1300" kern="1200">
          <a:solidFill>
            <a:schemeClr val="tx1"/>
          </a:solidFill>
          <a:latin typeface="Arial"/>
          <a:ea typeface="+mn-ea"/>
          <a:cs typeface="Arial"/>
        </a:defRPr>
      </a:lvl5pPr>
      <a:lvl6pPr marL="2724066" indent="-247643" algn="l" defTabSz="495286" rtl="0" eaLnBrk="1" latinLnBrk="0" hangingPunct="1">
        <a:spcBef>
          <a:spcPct val="20000"/>
        </a:spcBef>
        <a:buFont typeface="Arial"/>
        <a:buChar char="•"/>
        <a:defRPr sz="2167" kern="1200">
          <a:solidFill>
            <a:schemeClr val="tx1"/>
          </a:solidFill>
          <a:latin typeface="+mn-lt"/>
          <a:ea typeface="+mn-ea"/>
          <a:cs typeface="+mn-cs"/>
        </a:defRPr>
      </a:lvl6pPr>
      <a:lvl7pPr marL="3219351" indent="-247643" algn="l" defTabSz="495286" rtl="0" eaLnBrk="1" latinLnBrk="0" hangingPunct="1">
        <a:spcBef>
          <a:spcPct val="20000"/>
        </a:spcBef>
        <a:buFont typeface="Arial"/>
        <a:buChar char="•"/>
        <a:defRPr sz="2167" kern="1200">
          <a:solidFill>
            <a:schemeClr val="tx1"/>
          </a:solidFill>
          <a:latin typeface="+mn-lt"/>
          <a:ea typeface="+mn-ea"/>
          <a:cs typeface="+mn-cs"/>
        </a:defRPr>
      </a:lvl7pPr>
      <a:lvl8pPr marL="3714637" indent="-247643" algn="l" defTabSz="495286" rtl="0" eaLnBrk="1" latinLnBrk="0" hangingPunct="1">
        <a:spcBef>
          <a:spcPct val="20000"/>
        </a:spcBef>
        <a:buFont typeface="Arial"/>
        <a:buChar char="•"/>
        <a:defRPr sz="2167" kern="1200">
          <a:solidFill>
            <a:schemeClr val="tx1"/>
          </a:solidFill>
          <a:latin typeface="+mn-lt"/>
          <a:ea typeface="+mn-ea"/>
          <a:cs typeface="+mn-cs"/>
        </a:defRPr>
      </a:lvl8pPr>
      <a:lvl9pPr marL="4209920" indent="-247643" algn="l" defTabSz="495286" rtl="0" eaLnBrk="1" latinLnBrk="0" hangingPunct="1">
        <a:spcBef>
          <a:spcPct val="20000"/>
        </a:spcBef>
        <a:buFont typeface="Arial"/>
        <a:buChar char="•"/>
        <a:defRPr sz="2167" kern="1200">
          <a:solidFill>
            <a:schemeClr val="tx1"/>
          </a:solidFill>
          <a:latin typeface="+mn-lt"/>
          <a:ea typeface="+mn-ea"/>
          <a:cs typeface="+mn-cs"/>
        </a:defRPr>
      </a:lvl9pPr>
    </p:bodyStyle>
    <p:otherStyle>
      <a:defPPr>
        <a:defRPr lang="en-US"/>
      </a:defPPr>
      <a:lvl1pPr marL="0" algn="l" defTabSz="495286" rtl="0" eaLnBrk="1" latinLnBrk="0" hangingPunct="1">
        <a:defRPr sz="1950" kern="1200">
          <a:solidFill>
            <a:schemeClr val="tx1"/>
          </a:solidFill>
          <a:latin typeface="+mn-lt"/>
          <a:ea typeface="+mn-ea"/>
          <a:cs typeface="+mn-cs"/>
        </a:defRPr>
      </a:lvl1pPr>
      <a:lvl2pPr marL="495286" algn="l" defTabSz="495286" rtl="0" eaLnBrk="1" latinLnBrk="0" hangingPunct="1">
        <a:defRPr sz="1950" kern="1200">
          <a:solidFill>
            <a:schemeClr val="tx1"/>
          </a:solidFill>
          <a:latin typeface="+mn-lt"/>
          <a:ea typeface="+mn-ea"/>
          <a:cs typeface="+mn-cs"/>
        </a:defRPr>
      </a:lvl2pPr>
      <a:lvl3pPr marL="990570" algn="l" defTabSz="495286" rtl="0" eaLnBrk="1" latinLnBrk="0" hangingPunct="1">
        <a:defRPr sz="1950" kern="1200">
          <a:solidFill>
            <a:schemeClr val="tx1"/>
          </a:solidFill>
          <a:latin typeface="+mn-lt"/>
          <a:ea typeface="+mn-ea"/>
          <a:cs typeface="+mn-cs"/>
        </a:defRPr>
      </a:lvl3pPr>
      <a:lvl4pPr marL="1485854" algn="l" defTabSz="495286" rtl="0" eaLnBrk="1" latinLnBrk="0" hangingPunct="1">
        <a:defRPr sz="1950" kern="1200">
          <a:solidFill>
            <a:schemeClr val="tx1"/>
          </a:solidFill>
          <a:latin typeface="+mn-lt"/>
          <a:ea typeface="+mn-ea"/>
          <a:cs typeface="+mn-cs"/>
        </a:defRPr>
      </a:lvl4pPr>
      <a:lvl5pPr marL="1981140" algn="l" defTabSz="495286" rtl="0" eaLnBrk="1" latinLnBrk="0" hangingPunct="1">
        <a:defRPr sz="1950" kern="1200">
          <a:solidFill>
            <a:schemeClr val="tx1"/>
          </a:solidFill>
          <a:latin typeface="+mn-lt"/>
          <a:ea typeface="+mn-ea"/>
          <a:cs typeface="+mn-cs"/>
        </a:defRPr>
      </a:lvl5pPr>
      <a:lvl6pPr marL="2476424" algn="l" defTabSz="495286" rtl="0" eaLnBrk="1" latinLnBrk="0" hangingPunct="1">
        <a:defRPr sz="1950" kern="1200">
          <a:solidFill>
            <a:schemeClr val="tx1"/>
          </a:solidFill>
          <a:latin typeface="+mn-lt"/>
          <a:ea typeface="+mn-ea"/>
          <a:cs typeface="+mn-cs"/>
        </a:defRPr>
      </a:lvl6pPr>
      <a:lvl7pPr marL="2971710" algn="l" defTabSz="495286" rtl="0" eaLnBrk="1" latinLnBrk="0" hangingPunct="1">
        <a:defRPr sz="1950" kern="1200">
          <a:solidFill>
            <a:schemeClr val="tx1"/>
          </a:solidFill>
          <a:latin typeface="+mn-lt"/>
          <a:ea typeface="+mn-ea"/>
          <a:cs typeface="+mn-cs"/>
        </a:defRPr>
      </a:lvl7pPr>
      <a:lvl8pPr marL="3466993" algn="l" defTabSz="495286" rtl="0" eaLnBrk="1" latinLnBrk="0" hangingPunct="1">
        <a:defRPr sz="1950" kern="1200">
          <a:solidFill>
            <a:schemeClr val="tx1"/>
          </a:solidFill>
          <a:latin typeface="+mn-lt"/>
          <a:ea typeface="+mn-ea"/>
          <a:cs typeface="+mn-cs"/>
        </a:defRPr>
      </a:lvl8pPr>
      <a:lvl9pPr marL="3962277" algn="l" defTabSz="495286"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3.png"/><Relationship Id="rId7" Type="http://schemas.openxmlformats.org/officeDocument/2006/relationships/slide" Target="slide8.xml"/><Relationship Id="rId12"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slide" Target="slide7.xml"/><Relationship Id="rId11" Type="http://schemas.openxmlformats.org/officeDocument/2006/relationships/slide" Target="slide3.xml"/><Relationship Id="rId5" Type="http://schemas.openxmlformats.org/officeDocument/2006/relationships/slide" Target="slide6.xml"/><Relationship Id="rId10" Type="http://schemas.openxmlformats.org/officeDocument/2006/relationships/slide" Target="slide2.xml"/><Relationship Id="rId4" Type="http://schemas.openxmlformats.org/officeDocument/2006/relationships/slide" Target="slide5.xml"/><Relationship Id="rId9" Type="http://schemas.openxmlformats.org/officeDocument/2006/relationships/slide" Target="slide4.xml"/></Relationships>
</file>

<file path=ppt/slides/_rels/slide2.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image" Target="../media/image6.png"/><Relationship Id="rId7" Type="http://schemas.openxmlformats.org/officeDocument/2006/relationships/slide" Target="slide7.xml"/><Relationship Id="rId12"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slide" Target="slide6.xml"/><Relationship Id="rId11" Type="http://schemas.openxmlformats.org/officeDocument/2006/relationships/slide" Target="slide3.xml"/><Relationship Id="rId5" Type="http://schemas.openxmlformats.org/officeDocument/2006/relationships/slide" Target="slide5.xml"/><Relationship Id="rId10" Type="http://schemas.openxmlformats.org/officeDocument/2006/relationships/slide" Target="slide4.xml"/><Relationship Id="rId4" Type="http://schemas.openxmlformats.org/officeDocument/2006/relationships/image" Target="../media/image7.png"/><Relationship Id="rId9" Type="http://schemas.openxmlformats.org/officeDocument/2006/relationships/slide" Target="slide1.xml"/></Relationships>
</file>

<file path=ppt/slides/_rels/slide3.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image" Target="../media/image9.png"/><Relationship Id="rId7" Type="http://schemas.openxmlformats.org/officeDocument/2006/relationships/slide" Target="slide8.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slide" Target="slide7.xml"/><Relationship Id="rId5" Type="http://schemas.openxmlformats.org/officeDocument/2006/relationships/slide" Target="slide6.xml"/><Relationship Id="rId10" Type="http://schemas.openxmlformats.org/officeDocument/2006/relationships/slide" Target="slide4.xml"/><Relationship Id="rId4" Type="http://schemas.openxmlformats.org/officeDocument/2006/relationships/slide" Target="slide5.xml"/><Relationship Id="rId9" Type="http://schemas.openxmlformats.org/officeDocument/2006/relationships/slide" Target="slide1.xml"/></Relationships>
</file>

<file path=ppt/slides/_rels/slide4.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image" Target="../media/image10.png"/><Relationship Id="rId7" Type="http://schemas.openxmlformats.org/officeDocument/2006/relationships/slide" Target="slide7.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slide" Target="slide6.xml"/><Relationship Id="rId11" Type="http://schemas.openxmlformats.org/officeDocument/2006/relationships/image" Target="../media/image11.png"/><Relationship Id="rId5" Type="http://schemas.openxmlformats.org/officeDocument/2006/relationships/slide" Target="slide5.xml"/><Relationship Id="rId10" Type="http://schemas.openxmlformats.org/officeDocument/2006/relationships/slide" Target="slide3.xml"/><Relationship Id="rId4" Type="http://schemas.openxmlformats.org/officeDocument/2006/relationships/slide" Target="slide1.xml"/><Relationship Id="rId9" Type="http://schemas.openxmlformats.org/officeDocument/2006/relationships/slide" Target="slide2.xml"/></Relationships>
</file>

<file path=ppt/slides/_rels/slide5.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image" Target="../media/image12.png"/><Relationship Id="rId7" Type="http://schemas.openxmlformats.org/officeDocument/2006/relationships/slide" Target="slide7.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slide" Target="slide6.xml"/><Relationship Id="rId5" Type="http://schemas.openxmlformats.org/officeDocument/2006/relationships/image" Target="../media/image14.png"/><Relationship Id="rId10" Type="http://schemas.openxmlformats.org/officeDocument/2006/relationships/image" Target="../media/image15.png"/><Relationship Id="rId4" Type="http://schemas.openxmlformats.org/officeDocument/2006/relationships/image" Target="../media/image13.png"/><Relationship Id="rId9" Type="http://schemas.openxmlformats.org/officeDocument/2006/relationships/slide" Target="slide1.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slide" Target="slide5.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slide" Target="slide1.xml"/><Relationship Id="rId5" Type="http://schemas.openxmlformats.org/officeDocument/2006/relationships/slide" Target="slide8.xml"/><Relationship Id="rId4" Type="http://schemas.openxmlformats.org/officeDocument/2006/relationships/slide" Target="slide7.xml"/></Relationships>
</file>

<file path=ppt/slides/_rels/slide7.xml.rels><?xml version="1.0" encoding="UTF-8" standalone="yes"?>
<Relationships xmlns="http://schemas.openxmlformats.org/package/2006/relationships"><Relationship Id="rId3" Type="http://schemas.openxmlformats.org/officeDocument/2006/relationships/slide" Target="slide8.xml"/><Relationship Id="rId7"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slide" Target="slide6.xml"/><Relationship Id="rId5" Type="http://schemas.openxmlformats.org/officeDocument/2006/relationships/slide" Target="slide5.xml"/><Relationship Id="rId4" Type="http://schemas.openxmlformats.org/officeDocument/2006/relationships/slide" Target="slide1.xml"/></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8.png"/><Relationship Id="rId7" Type="http://schemas.openxmlformats.org/officeDocument/2006/relationships/slide" Target="slide7.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slide" Target="slide6.xml"/><Relationship Id="rId5" Type="http://schemas.openxmlformats.org/officeDocument/2006/relationships/slide" Target="slide5.xml"/><Relationship Id="rId4" Type="http://schemas.openxmlformats.org/officeDocument/2006/relationships/slide" Target="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366CFA56-E3C9-436A-A6CB-30C386F3CC98}"/>
              </a:ext>
            </a:extLst>
          </p:cNvPr>
          <p:cNvPicPr>
            <a:picLocks noChangeAspect="1"/>
          </p:cNvPicPr>
          <p:nvPr/>
        </p:nvPicPr>
        <p:blipFill>
          <a:blip r:embed="rId3"/>
          <a:stretch>
            <a:fillRect/>
          </a:stretch>
        </p:blipFill>
        <p:spPr>
          <a:xfrm>
            <a:off x="1550563" y="1366653"/>
            <a:ext cx="9144000" cy="5181600"/>
          </a:xfrm>
          <a:prstGeom prst="rect">
            <a:avLst/>
          </a:prstGeom>
        </p:spPr>
      </p:pic>
      <p:sp>
        <p:nvSpPr>
          <p:cNvPr id="9" name="Rectangle: Rounded Corners 8">
            <a:extLst>
              <a:ext uri="{FF2B5EF4-FFF2-40B4-BE49-F238E27FC236}">
                <a16:creationId xmlns:a16="http://schemas.microsoft.com/office/drawing/2014/main" id="{444EFF2B-DD71-474A-BEB0-2E613136DC5E}"/>
              </a:ext>
            </a:extLst>
          </p:cNvPr>
          <p:cNvSpPr/>
          <p:nvPr/>
        </p:nvSpPr>
        <p:spPr>
          <a:xfrm>
            <a:off x="304800" y="307097"/>
            <a:ext cx="1989666" cy="618066"/>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bg1"/>
                </a:solidFill>
              </a:rPr>
              <a:t>Qualification, Quoting &amp; Ordering</a:t>
            </a:r>
          </a:p>
        </p:txBody>
      </p:sp>
      <p:sp>
        <p:nvSpPr>
          <p:cNvPr id="10" name="Rectangle: Rounded Corners 9">
            <a:hlinkClick r:id="rId4" action="ppaction://hlinksldjump"/>
            <a:extLst>
              <a:ext uri="{FF2B5EF4-FFF2-40B4-BE49-F238E27FC236}">
                <a16:creationId xmlns:a16="http://schemas.microsoft.com/office/drawing/2014/main" id="{25C88E41-1987-409C-A1F6-1B8B7058DD77}"/>
              </a:ext>
            </a:extLst>
          </p:cNvPr>
          <p:cNvSpPr/>
          <p:nvPr/>
        </p:nvSpPr>
        <p:spPr>
          <a:xfrm>
            <a:off x="26416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Service Inventory</a:t>
            </a:r>
          </a:p>
        </p:txBody>
      </p:sp>
      <p:sp>
        <p:nvSpPr>
          <p:cNvPr id="11" name="Rectangle: Rounded Corners 10">
            <a:hlinkClick r:id="rId5" action="ppaction://hlinksldjump"/>
            <a:extLst>
              <a:ext uri="{FF2B5EF4-FFF2-40B4-BE49-F238E27FC236}">
                <a16:creationId xmlns:a16="http://schemas.microsoft.com/office/drawing/2014/main" id="{AA5E0D12-D2A9-427B-AFE3-74268159C7BC}"/>
              </a:ext>
            </a:extLst>
          </p:cNvPr>
          <p:cNvSpPr/>
          <p:nvPr/>
        </p:nvSpPr>
        <p:spPr>
          <a:xfrm>
            <a:off x="49784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Raising Service Incidents &amp; Enquiries</a:t>
            </a:r>
          </a:p>
        </p:txBody>
      </p:sp>
      <p:sp>
        <p:nvSpPr>
          <p:cNvPr id="12" name="Rectangle: Rounded Corners 11">
            <a:hlinkClick r:id="rId6" action="ppaction://hlinksldjump"/>
            <a:extLst>
              <a:ext uri="{FF2B5EF4-FFF2-40B4-BE49-F238E27FC236}">
                <a16:creationId xmlns:a16="http://schemas.microsoft.com/office/drawing/2014/main" id="{EA250312-6E8B-4C7A-8F41-17D20E337648}"/>
              </a:ext>
            </a:extLst>
          </p:cNvPr>
          <p:cNvSpPr/>
          <p:nvPr/>
        </p:nvSpPr>
        <p:spPr>
          <a:xfrm>
            <a:off x="73152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Invoicing &amp; Payments</a:t>
            </a:r>
          </a:p>
        </p:txBody>
      </p:sp>
      <p:sp>
        <p:nvSpPr>
          <p:cNvPr id="13" name="Rectangle: Rounded Corners 12">
            <a:hlinkClick r:id="rId7" action="ppaction://hlinksldjump"/>
            <a:extLst>
              <a:ext uri="{FF2B5EF4-FFF2-40B4-BE49-F238E27FC236}">
                <a16:creationId xmlns:a16="http://schemas.microsoft.com/office/drawing/2014/main" id="{FF5B3AA5-A02C-4DC7-82A8-24C3786F9F78}"/>
              </a:ext>
            </a:extLst>
          </p:cNvPr>
          <p:cNvSpPr/>
          <p:nvPr/>
        </p:nvSpPr>
        <p:spPr>
          <a:xfrm>
            <a:off x="96520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User Administration</a:t>
            </a:r>
          </a:p>
        </p:txBody>
      </p:sp>
      <p:grpSp>
        <p:nvGrpSpPr>
          <p:cNvPr id="29" name="Group 28">
            <a:extLst>
              <a:ext uri="{FF2B5EF4-FFF2-40B4-BE49-F238E27FC236}">
                <a16:creationId xmlns:a16="http://schemas.microsoft.com/office/drawing/2014/main" id="{97F3B975-ECAE-4350-9A59-672B64FD3A9B}"/>
              </a:ext>
            </a:extLst>
          </p:cNvPr>
          <p:cNvGrpSpPr/>
          <p:nvPr/>
        </p:nvGrpSpPr>
        <p:grpSpPr>
          <a:xfrm>
            <a:off x="1559441" y="4915620"/>
            <a:ext cx="3327019" cy="1715854"/>
            <a:chOff x="1308241" y="4915620"/>
            <a:chExt cx="3327019" cy="1715854"/>
          </a:xfrm>
        </p:grpSpPr>
        <p:sp>
          <p:nvSpPr>
            <p:cNvPr id="20" name="TextBox 19">
              <a:extLst>
                <a:ext uri="{FF2B5EF4-FFF2-40B4-BE49-F238E27FC236}">
                  <a16:creationId xmlns:a16="http://schemas.microsoft.com/office/drawing/2014/main" id="{972E15E6-FFB9-4078-BB69-E5C8A8D90141}"/>
                </a:ext>
              </a:extLst>
            </p:cNvPr>
            <p:cNvSpPr txBox="1"/>
            <p:nvPr/>
          </p:nvSpPr>
          <p:spPr>
            <a:xfrm>
              <a:off x="2645593" y="4915620"/>
              <a:ext cx="1989667" cy="171585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User Account</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lick here to view your user account details, including role &amp; associated organisation. </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y Account’ provides further details, including allowing you to manage your contact details, &amp; see your Multi-Factor Authentication (MFA) status</a:t>
              </a:r>
            </a:p>
          </p:txBody>
        </p:sp>
        <p:pic>
          <p:nvPicPr>
            <p:cNvPr id="28" name="Picture 27">
              <a:extLst>
                <a:ext uri="{FF2B5EF4-FFF2-40B4-BE49-F238E27FC236}">
                  <a16:creationId xmlns:a16="http://schemas.microsoft.com/office/drawing/2014/main" id="{2F3B9C12-71F7-4A12-8ED7-F786563A42CD}"/>
                </a:ext>
              </a:extLst>
            </p:cNvPr>
            <p:cNvPicPr>
              <a:picLocks noChangeAspect="1"/>
            </p:cNvPicPr>
            <p:nvPr/>
          </p:nvPicPr>
          <p:blipFill>
            <a:blip r:embed="rId8"/>
            <a:stretch>
              <a:fillRect/>
            </a:stretch>
          </p:blipFill>
          <p:spPr>
            <a:xfrm>
              <a:off x="1308241" y="5219456"/>
              <a:ext cx="1176338" cy="1257300"/>
            </a:xfrm>
            <a:prstGeom prst="rect">
              <a:avLst/>
            </a:prstGeom>
          </p:spPr>
        </p:pic>
      </p:grpSp>
      <p:sp>
        <p:nvSpPr>
          <p:cNvPr id="19" name="Flowchart: Off-page Connector 18">
            <a:extLst>
              <a:ext uri="{FF2B5EF4-FFF2-40B4-BE49-F238E27FC236}">
                <a16:creationId xmlns:a16="http://schemas.microsoft.com/office/drawing/2014/main" id="{B603BD83-7DB7-400A-A9F9-9448BA7F3567}"/>
              </a:ext>
            </a:extLst>
          </p:cNvPr>
          <p:cNvSpPr/>
          <p:nvPr/>
        </p:nvSpPr>
        <p:spPr>
          <a:xfrm>
            <a:off x="2335676" y="6417733"/>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2</a:t>
            </a:r>
          </a:p>
        </p:txBody>
      </p:sp>
      <p:sp>
        <p:nvSpPr>
          <p:cNvPr id="30" name="Flowchart: Off-page Connector 29">
            <a:extLst>
              <a:ext uri="{FF2B5EF4-FFF2-40B4-BE49-F238E27FC236}">
                <a16:creationId xmlns:a16="http://schemas.microsoft.com/office/drawing/2014/main" id="{54B1A6CF-C973-4B96-A4A1-C8232B3A2F2A}"/>
              </a:ext>
            </a:extLst>
          </p:cNvPr>
          <p:cNvSpPr/>
          <p:nvPr/>
        </p:nvSpPr>
        <p:spPr>
          <a:xfrm>
            <a:off x="5700420" y="1366972"/>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3</a:t>
            </a:r>
          </a:p>
        </p:txBody>
      </p:sp>
      <p:sp>
        <p:nvSpPr>
          <p:cNvPr id="31" name="TextBox 30">
            <a:extLst>
              <a:ext uri="{FF2B5EF4-FFF2-40B4-BE49-F238E27FC236}">
                <a16:creationId xmlns:a16="http://schemas.microsoft.com/office/drawing/2014/main" id="{1D0D8C05-B1C3-43FB-9FB4-17E0CDEDF532}"/>
              </a:ext>
            </a:extLst>
          </p:cNvPr>
          <p:cNvSpPr txBox="1"/>
          <p:nvPr/>
        </p:nvSpPr>
        <p:spPr>
          <a:xfrm>
            <a:off x="8625230" y="3309353"/>
            <a:ext cx="1989667" cy="1231106"/>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Adding Product Order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dd one or more Product Order lines to the Sales Order, with each line item representing one or more dark fibre services connecting two locations via a single path</a:t>
            </a:r>
          </a:p>
        </p:txBody>
      </p:sp>
      <p:sp>
        <p:nvSpPr>
          <p:cNvPr id="32" name="Flowchart: Off-page Connector 31">
            <a:extLst>
              <a:ext uri="{FF2B5EF4-FFF2-40B4-BE49-F238E27FC236}">
                <a16:creationId xmlns:a16="http://schemas.microsoft.com/office/drawing/2014/main" id="{6EFBC843-A232-47C4-9DA1-C68D83220B37}"/>
              </a:ext>
            </a:extLst>
          </p:cNvPr>
          <p:cNvSpPr/>
          <p:nvPr/>
        </p:nvSpPr>
        <p:spPr>
          <a:xfrm>
            <a:off x="10197175" y="2926831"/>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4</a:t>
            </a:r>
          </a:p>
        </p:txBody>
      </p:sp>
      <p:sp>
        <p:nvSpPr>
          <p:cNvPr id="33" name="Rectangle: Rounded Corners 32">
            <a:extLst>
              <a:ext uri="{FF2B5EF4-FFF2-40B4-BE49-F238E27FC236}">
                <a16:creationId xmlns:a16="http://schemas.microsoft.com/office/drawing/2014/main" id="{CE69E11C-8E1A-4B16-B135-9F0F2BFA211F}"/>
              </a:ext>
            </a:extLst>
          </p:cNvPr>
          <p:cNvSpPr/>
          <p:nvPr/>
        </p:nvSpPr>
        <p:spPr>
          <a:xfrm>
            <a:off x="304639" y="1015380"/>
            <a:ext cx="430467" cy="254478"/>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bg1"/>
                </a:solidFill>
              </a:rPr>
              <a:t>1</a:t>
            </a:r>
          </a:p>
        </p:txBody>
      </p:sp>
      <p:sp>
        <p:nvSpPr>
          <p:cNvPr id="34" name="Rectangle: Rounded Corners 33">
            <a:hlinkClick r:id="rId9" action="ppaction://hlinksldjump"/>
            <a:extLst>
              <a:ext uri="{FF2B5EF4-FFF2-40B4-BE49-F238E27FC236}">
                <a16:creationId xmlns:a16="http://schemas.microsoft.com/office/drawing/2014/main" id="{253D2F91-723F-4E9A-B41C-39FBF96F4DAE}"/>
              </a:ext>
            </a:extLst>
          </p:cNvPr>
          <p:cNvSpPr/>
          <p:nvPr/>
        </p:nvSpPr>
        <p:spPr>
          <a:xfrm>
            <a:off x="1868855" y="1015380"/>
            <a:ext cx="430467" cy="254478"/>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4</a:t>
            </a:r>
          </a:p>
        </p:txBody>
      </p:sp>
      <p:sp>
        <p:nvSpPr>
          <p:cNvPr id="35" name="Rectangle: Rounded Corners 34">
            <a:hlinkClick r:id="rId10" action="ppaction://hlinksldjump"/>
            <a:extLst>
              <a:ext uri="{FF2B5EF4-FFF2-40B4-BE49-F238E27FC236}">
                <a16:creationId xmlns:a16="http://schemas.microsoft.com/office/drawing/2014/main" id="{AAF3CBF6-9AA9-4F14-B741-C06D782A5D4A}"/>
              </a:ext>
            </a:extLst>
          </p:cNvPr>
          <p:cNvSpPr/>
          <p:nvPr/>
        </p:nvSpPr>
        <p:spPr>
          <a:xfrm>
            <a:off x="837579" y="1015380"/>
            <a:ext cx="430467" cy="254478"/>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2</a:t>
            </a:r>
          </a:p>
        </p:txBody>
      </p:sp>
      <p:sp>
        <p:nvSpPr>
          <p:cNvPr id="36" name="Rectangle: Rounded Corners 35">
            <a:hlinkClick r:id="rId11" action="ppaction://hlinksldjump"/>
            <a:extLst>
              <a:ext uri="{FF2B5EF4-FFF2-40B4-BE49-F238E27FC236}">
                <a16:creationId xmlns:a16="http://schemas.microsoft.com/office/drawing/2014/main" id="{4693C0F7-7435-480D-A066-2676DFDA13F1}"/>
              </a:ext>
            </a:extLst>
          </p:cNvPr>
          <p:cNvSpPr/>
          <p:nvPr/>
        </p:nvSpPr>
        <p:spPr>
          <a:xfrm>
            <a:off x="1353217" y="1015380"/>
            <a:ext cx="430467" cy="254478"/>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3</a:t>
            </a:r>
          </a:p>
        </p:txBody>
      </p:sp>
      <p:sp>
        <p:nvSpPr>
          <p:cNvPr id="64" name="Flowchart: Off-page Connector 63">
            <a:extLst>
              <a:ext uri="{FF2B5EF4-FFF2-40B4-BE49-F238E27FC236}">
                <a16:creationId xmlns:a16="http://schemas.microsoft.com/office/drawing/2014/main" id="{05301C5F-0CEC-4CEF-AAC2-3970C76B5B29}"/>
              </a:ext>
            </a:extLst>
          </p:cNvPr>
          <p:cNvSpPr/>
          <p:nvPr/>
        </p:nvSpPr>
        <p:spPr>
          <a:xfrm>
            <a:off x="1999567" y="3567023"/>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1</a:t>
            </a:r>
          </a:p>
        </p:txBody>
      </p:sp>
      <p:sp>
        <p:nvSpPr>
          <p:cNvPr id="65" name="TextBox 64">
            <a:extLst>
              <a:ext uri="{FF2B5EF4-FFF2-40B4-BE49-F238E27FC236}">
                <a16:creationId xmlns:a16="http://schemas.microsoft.com/office/drawing/2014/main" id="{5B3590E6-AC51-4D04-87D1-4412148ABBC8}"/>
              </a:ext>
            </a:extLst>
          </p:cNvPr>
          <p:cNvSpPr txBox="1"/>
          <p:nvPr/>
        </p:nvSpPr>
        <p:spPr>
          <a:xfrm>
            <a:off x="1109647" y="3962401"/>
            <a:ext cx="1989667" cy="171585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Navigation Menu</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se this screen to navigate to various functional areas of the portal</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Product Inventory</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Quotes &amp; Order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Incident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Enquirie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Invoicing &amp; Payment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User Management</a:t>
            </a:r>
          </a:p>
        </p:txBody>
      </p:sp>
      <p:sp>
        <p:nvSpPr>
          <p:cNvPr id="73" name="Rectangle: Rounded Corners 72">
            <a:hlinkClick r:id="" action="ppaction://hlinkshowjump?jump=nextslide"/>
            <a:extLst>
              <a:ext uri="{FF2B5EF4-FFF2-40B4-BE49-F238E27FC236}">
                <a16:creationId xmlns:a16="http://schemas.microsoft.com/office/drawing/2014/main" id="{40E7F8C7-8BA5-4C8F-BAE6-27D21F166E00}"/>
              </a:ext>
            </a:extLst>
          </p:cNvPr>
          <p:cNvSpPr/>
          <p:nvPr/>
        </p:nvSpPr>
        <p:spPr>
          <a:xfrm>
            <a:off x="11079940" y="6221237"/>
            <a:ext cx="887052" cy="254478"/>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dirty="0">
                <a:solidFill>
                  <a:schemeClr val="bg1"/>
                </a:solidFill>
              </a:rPr>
              <a:t>Next &gt;</a:t>
            </a:r>
          </a:p>
        </p:txBody>
      </p:sp>
      <p:grpSp>
        <p:nvGrpSpPr>
          <p:cNvPr id="4" name="Group 3">
            <a:extLst>
              <a:ext uri="{FF2B5EF4-FFF2-40B4-BE49-F238E27FC236}">
                <a16:creationId xmlns:a16="http://schemas.microsoft.com/office/drawing/2014/main" id="{D1150E0D-F7B1-41B5-871A-09C369DAFB70}"/>
              </a:ext>
            </a:extLst>
          </p:cNvPr>
          <p:cNvGrpSpPr/>
          <p:nvPr/>
        </p:nvGrpSpPr>
        <p:grpSpPr>
          <a:xfrm>
            <a:off x="3616596" y="1328153"/>
            <a:ext cx="4412144" cy="1472752"/>
            <a:chOff x="3616596" y="1328153"/>
            <a:chExt cx="4412144" cy="1472752"/>
          </a:xfrm>
        </p:grpSpPr>
        <p:sp>
          <p:nvSpPr>
            <p:cNvPr id="18" name="TextBox 17">
              <a:extLst>
                <a:ext uri="{FF2B5EF4-FFF2-40B4-BE49-F238E27FC236}">
                  <a16:creationId xmlns:a16="http://schemas.microsoft.com/office/drawing/2014/main" id="{B2C1D738-4E9B-4444-A309-5F9D5328AACB}"/>
                </a:ext>
              </a:extLst>
            </p:cNvPr>
            <p:cNvSpPr txBox="1"/>
            <p:nvPr/>
          </p:nvSpPr>
          <p:spPr>
            <a:xfrm>
              <a:off x="6039073" y="1328153"/>
              <a:ext cx="1989667" cy="106952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Sales Order/Quote</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ntrol the naming of the Sales Order (aka Quote, Opportunity), and the portal user or team who receive related communications</a:t>
              </a:r>
            </a:p>
          </p:txBody>
        </p:sp>
        <p:pic>
          <p:nvPicPr>
            <p:cNvPr id="3" name="Picture 2">
              <a:extLst>
                <a:ext uri="{FF2B5EF4-FFF2-40B4-BE49-F238E27FC236}">
                  <a16:creationId xmlns:a16="http://schemas.microsoft.com/office/drawing/2014/main" id="{99F3184D-BA09-4896-A358-BC9365C679AF}"/>
                </a:ext>
              </a:extLst>
            </p:cNvPr>
            <p:cNvPicPr>
              <a:picLocks noChangeAspect="1"/>
            </p:cNvPicPr>
            <p:nvPr/>
          </p:nvPicPr>
          <p:blipFill>
            <a:blip r:embed="rId12"/>
            <a:stretch>
              <a:fillRect/>
            </a:stretch>
          </p:blipFill>
          <p:spPr>
            <a:xfrm>
              <a:off x="3616596" y="1624567"/>
              <a:ext cx="2409825" cy="1176338"/>
            </a:xfrm>
            <a:prstGeom prst="rect">
              <a:avLst/>
            </a:prstGeom>
          </p:spPr>
        </p:pic>
      </p:grpSp>
    </p:spTree>
    <p:extLst>
      <p:ext uri="{BB962C8B-B14F-4D97-AF65-F5344CB8AC3E}">
        <p14:creationId xmlns:p14="http://schemas.microsoft.com/office/powerpoint/2010/main" val="25994808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9"/>
                    </p:tgtEl>
                  </p:cond>
                </p:stCondLst>
                <p:endSync evt="end" delay="0">
                  <p:rtn val="all"/>
                </p:endSync>
                <p:childTnLst>
                  <p:par>
                    <p:cTn id="3" fill="hold">
                      <p:stCondLst>
                        <p:cond delay="0"/>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29"/>
                                        </p:tgtEl>
                                      </p:cBhvr>
                                    </p:animEffect>
                                    <p:set>
                                      <p:cBhvr>
                                        <p:cTn id="12" dur="1" fill="hold">
                                          <p:stCondLst>
                                            <p:cond delay="499"/>
                                          </p:stCondLst>
                                        </p:cTn>
                                        <p:tgtEl>
                                          <p:spTgt spid="29"/>
                                        </p:tgtEl>
                                        <p:attrNameLst>
                                          <p:attrName>style.visibility</p:attrName>
                                        </p:attrNameLst>
                                      </p:cBhvr>
                                      <p:to>
                                        <p:strVal val="hidden"/>
                                      </p:to>
                                    </p:set>
                                  </p:childTnLst>
                                </p:cTn>
                              </p:par>
                            </p:childTnLst>
                          </p:cTn>
                        </p:par>
                      </p:childTnLst>
                    </p:cTn>
                  </p:par>
                </p:childTnLst>
              </p:cTn>
              <p:nextCondLst>
                <p:cond evt="onClick" delay="0">
                  <p:tgtEl>
                    <p:spTgt spid="19"/>
                  </p:tgtEl>
                </p:cond>
              </p:nextCondLst>
            </p:seq>
            <p:seq concurrent="1" nextAc="seek">
              <p:cTn id="13" restart="whenNotActive" fill="hold" evtFilter="cancelBubble" nodeType="interactiveSeq">
                <p:stCondLst>
                  <p:cond evt="onClick" delay="0">
                    <p:tgtEl>
                      <p:spTgt spid="32"/>
                    </p:tgtEl>
                  </p:cond>
                </p:stCondLst>
                <p:endSync evt="end" delay="0">
                  <p:rtn val="all"/>
                </p:endSync>
                <p:childTnLst>
                  <p:par>
                    <p:cTn id="14" fill="hold">
                      <p:stCondLst>
                        <p:cond delay="0"/>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31"/>
                                        </p:tgtEl>
                                      </p:cBhvr>
                                    </p:animEffect>
                                    <p:set>
                                      <p:cBhvr>
                                        <p:cTn id="23" dur="1" fill="hold">
                                          <p:stCondLst>
                                            <p:cond delay="499"/>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32"/>
                  </p:tgtEl>
                </p:cond>
              </p:nextCondLst>
            </p:seq>
            <p:seq concurrent="1" nextAc="seek">
              <p:cTn id="24" restart="whenNotActive" fill="hold" evtFilter="cancelBubble" nodeType="interactiveSeq">
                <p:stCondLst>
                  <p:cond evt="onClick" delay="0">
                    <p:tgtEl>
                      <p:spTgt spid="64"/>
                    </p:tgtEl>
                  </p:cond>
                </p:stCondLst>
                <p:endSync evt="end" delay="0">
                  <p:rtn val="all"/>
                </p:endSync>
                <p:childTnLst>
                  <p:par>
                    <p:cTn id="25" fill="hold">
                      <p:stCondLst>
                        <p:cond delay="0"/>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65"/>
                                        </p:tgtEl>
                                        <p:attrNameLst>
                                          <p:attrName>style.visibility</p:attrName>
                                        </p:attrNameLst>
                                      </p:cBhvr>
                                      <p:to>
                                        <p:strVal val="visible"/>
                                      </p:to>
                                    </p:set>
                                    <p:animEffect transition="in" filter="fade">
                                      <p:cBhvr>
                                        <p:cTn id="29" dur="500"/>
                                        <p:tgtEl>
                                          <p:spTgt spid="6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grpId="1" nodeType="clickEffect">
                                  <p:stCondLst>
                                    <p:cond delay="0"/>
                                  </p:stCondLst>
                                  <p:childTnLst>
                                    <p:animEffect transition="out" filter="fade">
                                      <p:cBhvr>
                                        <p:cTn id="33" dur="500"/>
                                        <p:tgtEl>
                                          <p:spTgt spid="65"/>
                                        </p:tgtEl>
                                      </p:cBhvr>
                                    </p:animEffect>
                                    <p:set>
                                      <p:cBhvr>
                                        <p:cTn id="34" dur="1" fill="hold">
                                          <p:stCondLst>
                                            <p:cond delay="499"/>
                                          </p:stCondLst>
                                        </p:cTn>
                                        <p:tgtEl>
                                          <p:spTgt spid="65"/>
                                        </p:tgtEl>
                                        <p:attrNameLst>
                                          <p:attrName>style.visibility</p:attrName>
                                        </p:attrNameLst>
                                      </p:cBhvr>
                                      <p:to>
                                        <p:strVal val="hidden"/>
                                      </p:to>
                                    </p:set>
                                  </p:childTnLst>
                                </p:cTn>
                              </p:par>
                            </p:childTnLst>
                          </p:cTn>
                        </p:par>
                      </p:childTnLst>
                    </p:cTn>
                  </p:par>
                </p:childTnLst>
              </p:cTn>
              <p:nextCondLst>
                <p:cond evt="onClick" delay="0">
                  <p:tgtEl>
                    <p:spTgt spid="64"/>
                  </p:tgtEl>
                </p:cond>
              </p:nextCondLst>
            </p:seq>
            <p:seq concurrent="1" nextAc="seek">
              <p:cTn id="35" restart="whenNotActive" fill="hold" evtFilter="cancelBubble" nodeType="interactiveSeq">
                <p:stCondLst>
                  <p:cond evt="onClick" delay="0">
                    <p:tgtEl>
                      <p:spTgt spid="30"/>
                    </p:tgtEl>
                  </p:cond>
                </p:stCondLst>
                <p:endSync evt="end" delay="0">
                  <p:rtn val="all"/>
                </p:endSync>
                <p:childTnLst>
                  <p:par>
                    <p:cTn id="36" fill="hold">
                      <p:stCondLst>
                        <p:cond delay="0"/>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
                                        </p:tgtEl>
                                        <p:attrNameLst>
                                          <p:attrName>style.visibility</p:attrName>
                                        </p:attrNameLst>
                                      </p:cBhvr>
                                      <p:to>
                                        <p:strVal val="visible"/>
                                      </p:to>
                                    </p:set>
                                    <p:animEffect transition="in" filter="fade">
                                      <p:cBhvr>
                                        <p:cTn id="40" dur="500"/>
                                        <p:tgtEl>
                                          <p:spTgt spid="4"/>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nodeType="clickEffect">
                                  <p:stCondLst>
                                    <p:cond delay="0"/>
                                  </p:stCondLst>
                                  <p:childTnLst>
                                    <p:animEffect transition="out" filter="fade">
                                      <p:cBhvr>
                                        <p:cTn id="44" dur="500"/>
                                        <p:tgtEl>
                                          <p:spTgt spid="4"/>
                                        </p:tgtEl>
                                      </p:cBhvr>
                                    </p:animEffect>
                                    <p:set>
                                      <p:cBhvr>
                                        <p:cTn id="45" dur="1" fill="hold">
                                          <p:stCondLst>
                                            <p:cond delay="499"/>
                                          </p:stCondLst>
                                        </p:cTn>
                                        <p:tgtEl>
                                          <p:spTgt spid="4"/>
                                        </p:tgtEl>
                                        <p:attrNameLst>
                                          <p:attrName>style.visibility</p:attrName>
                                        </p:attrNameLst>
                                      </p:cBhvr>
                                      <p:to>
                                        <p:strVal val="hidden"/>
                                      </p:to>
                                    </p:set>
                                  </p:childTnLst>
                                </p:cTn>
                              </p:par>
                            </p:childTnLst>
                          </p:cTn>
                        </p:par>
                      </p:childTnLst>
                    </p:cTn>
                  </p:par>
                </p:childTnLst>
              </p:cTn>
              <p:nextCondLst>
                <p:cond evt="onClick" delay="0">
                  <p:tgtEl>
                    <p:spTgt spid="30"/>
                  </p:tgtEl>
                </p:cond>
              </p:nextCondLst>
            </p:seq>
          </p:childTnLst>
        </p:cTn>
      </p:par>
    </p:tnLst>
    <p:bldLst>
      <p:bldP spid="31" grpId="0" animBg="1"/>
      <p:bldP spid="31" grpId="1" animBg="1"/>
      <p:bldP spid="65" grpId="0" animBg="1"/>
      <p:bldP spid="65"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E45141B8-DD86-440D-9139-939C62CD4F3A}"/>
              </a:ext>
            </a:extLst>
          </p:cNvPr>
          <p:cNvPicPr>
            <a:picLocks noChangeAspect="1"/>
          </p:cNvPicPr>
          <p:nvPr/>
        </p:nvPicPr>
        <p:blipFill>
          <a:blip r:embed="rId3"/>
          <a:stretch>
            <a:fillRect/>
          </a:stretch>
        </p:blipFill>
        <p:spPr>
          <a:xfrm>
            <a:off x="1550563" y="1357951"/>
            <a:ext cx="9144000" cy="5181600"/>
          </a:xfrm>
          <a:prstGeom prst="rect">
            <a:avLst/>
          </a:prstGeom>
        </p:spPr>
      </p:pic>
      <p:sp>
        <p:nvSpPr>
          <p:cNvPr id="3" name="Rectangle: Rounded Corners 2">
            <a:extLst>
              <a:ext uri="{FF2B5EF4-FFF2-40B4-BE49-F238E27FC236}">
                <a16:creationId xmlns:a16="http://schemas.microsoft.com/office/drawing/2014/main" id="{8452A011-28E3-49B4-AC6F-854C9F1262A3}"/>
              </a:ext>
            </a:extLst>
          </p:cNvPr>
          <p:cNvSpPr/>
          <p:nvPr/>
        </p:nvSpPr>
        <p:spPr>
          <a:xfrm>
            <a:off x="304800" y="307097"/>
            <a:ext cx="1989666" cy="618066"/>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bg1"/>
                </a:solidFill>
              </a:rPr>
              <a:t>Qualification, Quoting &amp; Ordering</a:t>
            </a:r>
          </a:p>
        </p:txBody>
      </p:sp>
      <p:sp>
        <p:nvSpPr>
          <p:cNvPr id="12" name="TextBox 11">
            <a:extLst>
              <a:ext uri="{FF2B5EF4-FFF2-40B4-BE49-F238E27FC236}">
                <a16:creationId xmlns:a16="http://schemas.microsoft.com/office/drawing/2014/main" id="{B7AC6AE1-4A16-4358-A16D-DD4EC574D72B}"/>
              </a:ext>
            </a:extLst>
          </p:cNvPr>
          <p:cNvSpPr txBox="1"/>
          <p:nvPr/>
        </p:nvSpPr>
        <p:spPr>
          <a:xfrm>
            <a:off x="4067599" y="3389182"/>
            <a:ext cx="1989667" cy="106952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Site Presentation</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ll available sites are presented in the map &amp; list based on the product type &amp; region selected on the previous screen.</a:t>
            </a:r>
          </a:p>
        </p:txBody>
      </p:sp>
      <p:sp>
        <p:nvSpPr>
          <p:cNvPr id="17" name="Flowchart: Off-page Connector 16">
            <a:extLst>
              <a:ext uri="{FF2B5EF4-FFF2-40B4-BE49-F238E27FC236}">
                <a16:creationId xmlns:a16="http://schemas.microsoft.com/office/drawing/2014/main" id="{28D84B01-74FB-4C31-9BF8-D0F1617AE9FA}"/>
              </a:ext>
            </a:extLst>
          </p:cNvPr>
          <p:cNvSpPr/>
          <p:nvPr/>
        </p:nvSpPr>
        <p:spPr>
          <a:xfrm>
            <a:off x="5471818" y="3080454"/>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1</a:t>
            </a:r>
          </a:p>
        </p:txBody>
      </p:sp>
      <p:sp>
        <p:nvSpPr>
          <p:cNvPr id="22" name="Rectangle: Rounded Corners 21">
            <a:extLst>
              <a:ext uri="{FF2B5EF4-FFF2-40B4-BE49-F238E27FC236}">
                <a16:creationId xmlns:a16="http://schemas.microsoft.com/office/drawing/2014/main" id="{71809B9B-0A5A-4B92-8612-B6215E724D1C}"/>
              </a:ext>
            </a:extLst>
          </p:cNvPr>
          <p:cNvSpPr/>
          <p:nvPr/>
        </p:nvSpPr>
        <p:spPr>
          <a:xfrm>
            <a:off x="837579" y="1015380"/>
            <a:ext cx="430467" cy="254478"/>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bg1"/>
                </a:solidFill>
              </a:rPr>
              <a:t>2</a:t>
            </a:r>
          </a:p>
        </p:txBody>
      </p:sp>
      <p:sp>
        <p:nvSpPr>
          <p:cNvPr id="26" name="Flowchart: Off-page Connector 25">
            <a:extLst>
              <a:ext uri="{FF2B5EF4-FFF2-40B4-BE49-F238E27FC236}">
                <a16:creationId xmlns:a16="http://schemas.microsoft.com/office/drawing/2014/main" id="{1DB5536B-449C-467C-BA71-908947CF79E4}"/>
              </a:ext>
            </a:extLst>
          </p:cNvPr>
          <p:cNvSpPr/>
          <p:nvPr/>
        </p:nvSpPr>
        <p:spPr>
          <a:xfrm>
            <a:off x="7114352" y="3827000"/>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2</a:t>
            </a:r>
          </a:p>
        </p:txBody>
      </p:sp>
      <p:grpSp>
        <p:nvGrpSpPr>
          <p:cNvPr id="27" name="Group 26">
            <a:extLst>
              <a:ext uri="{FF2B5EF4-FFF2-40B4-BE49-F238E27FC236}">
                <a16:creationId xmlns:a16="http://schemas.microsoft.com/office/drawing/2014/main" id="{5C6437CE-7AA4-4056-9B8F-04B21A1E7E43}"/>
              </a:ext>
            </a:extLst>
          </p:cNvPr>
          <p:cNvGrpSpPr/>
          <p:nvPr/>
        </p:nvGrpSpPr>
        <p:grpSpPr>
          <a:xfrm>
            <a:off x="6224432" y="2958765"/>
            <a:ext cx="1989667" cy="2494719"/>
            <a:chOff x="5973232" y="2958765"/>
            <a:chExt cx="1989667" cy="2494719"/>
          </a:xfrm>
        </p:grpSpPr>
        <p:sp>
          <p:nvSpPr>
            <p:cNvPr id="28" name="TextBox 27">
              <a:extLst>
                <a:ext uri="{FF2B5EF4-FFF2-40B4-BE49-F238E27FC236}">
                  <a16:creationId xmlns:a16="http://schemas.microsoft.com/office/drawing/2014/main" id="{7CF54CEE-2865-4151-AA1B-BFD24313D6E3}"/>
                </a:ext>
              </a:extLst>
            </p:cNvPr>
            <p:cNvSpPr txBox="1"/>
            <p:nvPr/>
          </p:nvSpPr>
          <p:spPr>
            <a:xfrm>
              <a:off x="5973232" y="4222378"/>
              <a:ext cx="1989667" cy="1231106"/>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Site Selection from Map</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ites can be selected directly from the map if you know where the site is located. The site name and address is shown to allow you to confirm before selection.</a:t>
              </a:r>
            </a:p>
          </p:txBody>
        </p:sp>
        <p:pic>
          <p:nvPicPr>
            <p:cNvPr id="29" name="Picture 28">
              <a:extLst>
                <a:ext uri="{FF2B5EF4-FFF2-40B4-BE49-F238E27FC236}">
                  <a16:creationId xmlns:a16="http://schemas.microsoft.com/office/drawing/2014/main" id="{6EFD2654-5058-4AC7-BC69-6102C5D309B0}"/>
                </a:ext>
              </a:extLst>
            </p:cNvPr>
            <p:cNvPicPr>
              <a:picLocks noChangeAspect="1"/>
            </p:cNvPicPr>
            <p:nvPr/>
          </p:nvPicPr>
          <p:blipFill>
            <a:blip r:embed="rId4"/>
            <a:stretch>
              <a:fillRect/>
            </a:stretch>
          </p:blipFill>
          <p:spPr>
            <a:xfrm>
              <a:off x="6148369" y="2958765"/>
              <a:ext cx="1600200" cy="823913"/>
            </a:xfrm>
            <a:prstGeom prst="rect">
              <a:avLst/>
            </a:prstGeom>
          </p:spPr>
        </p:pic>
      </p:grpSp>
      <p:sp>
        <p:nvSpPr>
          <p:cNvPr id="39" name="Rectangle: Rounded Corners 38">
            <a:hlinkClick r:id="" action="ppaction://hlinkshowjump?jump=previousslide"/>
            <a:extLst>
              <a:ext uri="{FF2B5EF4-FFF2-40B4-BE49-F238E27FC236}">
                <a16:creationId xmlns:a16="http://schemas.microsoft.com/office/drawing/2014/main" id="{2DE50DEE-8C4A-48BC-8EAF-14FB6755C2E4}"/>
              </a:ext>
            </a:extLst>
          </p:cNvPr>
          <p:cNvSpPr/>
          <p:nvPr/>
        </p:nvSpPr>
        <p:spPr>
          <a:xfrm>
            <a:off x="225008" y="6221237"/>
            <a:ext cx="887052" cy="254478"/>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dirty="0">
                <a:solidFill>
                  <a:schemeClr val="bg1"/>
                </a:solidFill>
              </a:rPr>
              <a:t>&lt; Previous</a:t>
            </a:r>
          </a:p>
        </p:txBody>
      </p:sp>
      <p:sp>
        <p:nvSpPr>
          <p:cNvPr id="40" name="Rectangle: Rounded Corners 39">
            <a:hlinkClick r:id="" action="ppaction://hlinkshowjump?jump=nextslide"/>
            <a:extLst>
              <a:ext uri="{FF2B5EF4-FFF2-40B4-BE49-F238E27FC236}">
                <a16:creationId xmlns:a16="http://schemas.microsoft.com/office/drawing/2014/main" id="{FAFD7393-6F0F-409E-B44B-06B970C67614}"/>
              </a:ext>
            </a:extLst>
          </p:cNvPr>
          <p:cNvSpPr/>
          <p:nvPr/>
        </p:nvSpPr>
        <p:spPr>
          <a:xfrm>
            <a:off x="11079940" y="6221237"/>
            <a:ext cx="887052" cy="254478"/>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dirty="0">
                <a:solidFill>
                  <a:schemeClr val="bg1"/>
                </a:solidFill>
              </a:rPr>
              <a:t>Next &gt;</a:t>
            </a:r>
          </a:p>
        </p:txBody>
      </p:sp>
      <p:sp>
        <p:nvSpPr>
          <p:cNvPr id="41" name="Rectangle: Rounded Corners 40">
            <a:hlinkClick r:id="rId5" action="ppaction://hlinksldjump"/>
            <a:extLst>
              <a:ext uri="{FF2B5EF4-FFF2-40B4-BE49-F238E27FC236}">
                <a16:creationId xmlns:a16="http://schemas.microsoft.com/office/drawing/2014/main" id="{6873EC13-5EC8-4ED9-8ABA-714220AA5CCB}"/>
              </a:ext>
            </a:extLst>
          </p:cNvPr>
          <p:cNvSpPr/>
          <p:nvPr/>
        </p:nvSpPr>
        <p:spPr>
          <a:xfrm>
            <a:off x="26416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Service Inventory</a:t>
            </a:r>
          </a:p>
        </p:txBody>
      </p:sp>
      <p:sp>
        <p:nvSpPr>
          <p:cNvPr id="42" name="Rectangle: Rounded Corners 41">
            <a:hlinkClick r:id="rId6" action="ppaction://hlinksldjump"/>
            <a:extLst>
              <a:ext uri="{FF2B5EF4-FFF2-40B4-BE49-F238E27FC236}">
                <a16:creationId xmlns:a16="http://schemas.microsoft.com/office/drawing/2014/main" id="{2ECDF382-78F4-4A92-A92F-B7DE8FC74A7D}"/>
              </a:ext>
            </a:extLst>
          </p:cNvPr>
          <p:cNvSpPr/>
          <p:nvPr/>
        </p:nvSpPr>
        <p:spPr>
          <a:xfrm>
            <a:off x="49784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Raising Service Incidents &amp; Enquiries</a:t>
            </a:r>
          </a:p>
        </p:txBody>
      </p:sp>
      <p:sp>
        <p:nvSpPr>
          <p:cNvPr id="43" name="Rectangle: Rounded Corners 42">
            <a:hlinkClick r:id="rId7" action="ppaction://hlinksldjump"/>
            <a:extLst>
              <a:ext uri="{FF2B5EF4-FFF2-40B4-BE49-F238E27FC236}">
                <a16:creationId xmlns:a16="http://schemas.microsoft.com/office/drawing/2014/main" id="{BF8C4CC8-E7EE-49B6-92B3-74D82235AE4D}"/>
              </a:ext>
            </a:extLst>
          </p:cNvPr>
          <p:cNvSpPr/>
          <p:nvPr/>
        </p:nvSpPr>
        <p:spPr>
          <a:xfrm>
            <a:off x="73152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Invoicing &amp; Payments</a:t>
            </a:r>
          </a:p>
        </p:txBody>
      </p:sp>
      <p:sp>
        <p:nvSpPr>
          <p:cNvPr id="44" name="Rectangle: Rounded Corners 43">
            <a:hlinkClick r:id="rId8" action="ppaction://hlinksldjump"/>
            <a:extLst>
              <a:ext uri="{FF2B5EF4-FFF2-40B4-BE49-F238E27FC236}">
                <a16:creationId xmlns:a16="http://schemas.microsoft.com/office/drawing/2014/main" id="{3BB99F9A-2B37-4197-8F86-90F4B5DEF3E0}"/>
              </a:ext>
            </a:extLst>
          </p:cNvPr>
          <p:cNvSpPr/>
          <p:nvPr/>
        </p:nvSpPr>
        <p:spPr>
          <a:xfrm>
            <a:off x="96520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User Administration</a:t>
            </a:r>
          </a:p>
        </p:txBody>
      </p:sp>
      <p:sp>
        <p:nvSpPr>
          <p:cNvPr id="45" name="Rectangle: Rounded Corners 44">
            <a:hlinkClick r:id="rId9" action="ppaction://hlinksldjump"/>
            <a:extLst>
              <a:ext uri="{FF2B5EF4-FFF2-40B4-BE49-F238E27FC236}">
                <a16:creationId xmlns:a16="http://schemas.microsoft.com/office/drawing/2014/main" id="{79D82B75-49C3-4218-B80A-DD67ACE8D0C3}"/>
              </a:ext>
            </a:extLst>
          </p:cNvPr>
          <p:cNvSpPr/>
          <p:nvPr/>
        </p:nvSpPr>
        <p:spPr>
          <a:xfrm>
            <a:off x="304639" y="1015380"/>
            <a:ext cx="430467" cy="254478"/>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1</a:t>
            </a:r>
          </a:p>
        </p:txBody>
      </p:sp>
      <p:sp>
        <p:nvSpPr>
          <p:cNvPr id="46" name="Rectangle: Rounded Corners 45">
            <a:hlinkClick r:id="rId10" action="ppaction://hlinksldjump"/>
            <a:extLst>
              <a:ext uri="{FF2B5EF4-FFF2-40B4-BE49-F238E27FC236}">
                <a16:creationId xmlns:a16="http://schemas.microsoft.com/office/drawing/2014/main" id="{36DC3F42-16BB-4248-9FA4-7F30F95A3AB8}"/>
              </a:ext>
            </a:extLst>
          </p:cNvPr>
          <p:cNvSpPr/>
          <p:nvPr/>
        </p:nvSpPr>
        <p:spPr>
          <a:xfrm>
            <a:off x="1868855" y="1015380"/>
            <a:ext cx="430467" cy="254478"/>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4</a:t>
            </a:r>
          </a:p>
        </p:txBody>
      </p:sp>
      <p:sp>
        <p:nvSpPr>
          <p:cNvPr id="47" name="Rectangle: Rounded Corners 46">
            <a:hlinkClick r:id="rId11" action="ppaction://hlinksldjump"/>
            <a:extLst>
              <a:ext uri="{FF2B5EF4-FFF2-40B4-BE49-F238E27FC236}">
                <a16:creationId xmlns:a16="http://schemas.microsoft.com/office/drawing/2014/main" id="{202E4247-EBBA-4647-A132-2283052B725E}"/>
              </a:ext>
            </a:extLst>
          </p:cNvPr>
          <p:cNvSpPr/>
          <p:nvPr/>
        </p:nvSpPr>
        <p:spPr>
          <a:xfrm>
            <a:off x="1353217" y="1015380"/>
            <a:ext cx="430467" cy="254478"/>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3</a:t>
            </a:r>
          </a:p>
        </p:txBody>
      </p:sp>
      <p:grpSp>
        <p:nvGrpSpPr>
          <p:cNvPr id="9" name="Group 8">
            <a:extLst>
              <a:ext uri="{FF2B5EF4-FFF2-40B4-BE49-F238E27FC236}">
                <a16:creationId xmlns:a16="http://schemas.microsoft.com/office/drawing/2014/main" id="{FE651065-E987-419E-9F07-40081D3FE4CA}"/>
              </a:ext>
            </a:extLst>
          </p:cNvPr>
          <p:cNvGrpSpPr/>
          <p:nvPr/>
        </p:nvGrpSpPr>
        <p:grpSpPr>
          <a:xfrm>
            <a:off x="1550563" y="1363179"/>
            <a:ext cx="9144000" cy="5181600"/>
            <a:chOff x="1550563" y="1363179"/>
            <a:chExt cx="9144000" cy="5181600"/>
          </a:xfrm>
        </p:grpSpPr>
        <p:pic>
          <p:nvPicPr>
            <p:cNvPr id="56" name="Picture 55">
              <a:extLst>
                <a:ext uri="{FF2B5EF4-FFF2-40B4-BE49-F238E27FC236}">
                  <a16:creationId xmlns:a16="http://schemas.microsoft.com/office/drawing/2014/main" id="{C3CD27C3-1550-43B2-A108-54ED3F2B56BE}"/>
                </a:ext>
              </a:extLst>
            </p:cNvPr>
            <p:cNvPicPr>
              <a:picLocks noChangeAspect="1"/>
            </p:cNvPicPr>
            <p:nvPr/>
          </p:nvPicPr>
          <p:blipFill>
            <a:blip r:embed="rId12"/>
            <a:stretch>
              <a:fillRect/>
            </a:stretch>
          </p:blipFill>
          <p:spPr>
            <a:xfrm>
              <a:off x="1550563" y="1363179"/>
              <a:ext cx="9144000" cy="5181600"/>
            </a:xfrm>
            <a:prstGeom prst="rect">
              <a:avLst/>
            </a:prstGeom>
          </p:spPr>
        </p:pic>
        <p:sp>
          <p:nvSpPr>
            <p:cNvPr id="18" name="TextBox 17">
              <a:extLst>
                <a:ext uri="{FF2B5EF4-FFF2-40B4-BE49-F238E27FC236}">
                  <a16:creationId xmlns:a16="http://schemas.microsoft.com/office/drawing/2014/main" id="{5EF39464-E8CF-4618-8ABB-0A449FEA8318}"/>
                </a:ext>
              </a:extLst>
            </p:cNvPr>
            <p:cNvSpPr txBox="1"/>
            <p:nvPr/>
          </p:nvSpPr>
          <p:spPr>
            <a:xfrm>
              <a:off x="8495268" y="3080454"/>
              <a:ext cx="1989667" cy="1231106"/>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Site Selection from List</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f you’re not sure on the location of the site you want to qualify, clicking on select site allows you to search based on building name/operator or address.</a:t>
              </a:r>
            </a:p>
          </p:txBody>
        </p:sp>
      </p:grpSp>
      <p:sp>
        <p:nvSpPr>
          <p:cNvPr id="19" name="Flowchart: Off-page Connector 18">
            <a:extLst>
              <a:ext uri="{FF2B5EF4-FFF2-40B4-BE49-F238E27FC236}">
                <a16:creationId xmlns:a16="http://schemas.microsoft.com/office/drawing/2014/main" id="{8AEEA487-EE24-4059-956D-E878CF0D8247}"/>
              </a:ext>
            </a:extLst>
          </p:cNvPr>
          <p:cNvSpPr/>
          <p:nvPr/>
        </p:nvSpPr>
        <p:spPr>
          <a:xfrm>
            <a:off x="9280273" y="2713350"/>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3</a:t>
            </a:r>
          </a:p>
        </p:txBody>
      </p:sp>
    </p:spTree>
    <p:extLst>
      <p:ext uri="{BB962C8B-B14F-4D97-AF65-F5344CB8AC3E}">
        <p14:creationId xmlns:p14="http://schemas.microsoft.com/office/powerpoint/2010/main" val="2155324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7"/>
                    </p:tgtEl>
                  </p:cond>
                </p:stCondLst>
                <p:endSync evt="end" delay="0">
                  <p:rtn val="all"/>
                </p:endSync>
                <p:childTnLst>
                  <p:par>
                    <p:cTn id="3" fill="hold">
                      <p:stCondLst>
                        <p:cond delay="0"/>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12"/>
                                        </p:tgtEl>
                                      </p:cBhvr>
                                    </p:animEffect>
                                    <p:set>
                                      <p:cBhvr>
                                        <p:cTn id="12" dur="1" fill="hold">
                                          <p:stCondLst>
                                            <p:cond delay="499"/>
                                          </p:stCondLst>
                                        </p:cTn>
                                        <p:tgtEl>
                                          <p:spTgt spid="12"/>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 restart="whenNotActive" fill="hold" evtFilter="cancelBubble" nodeType="interactiveSeq">
                <p:stCondLst>
                  <p:cond evt="onClick" delay="0">
                    <p:tgtEl>
                      <p:spTgt spid="26"/>
                    </p:tgtEl>
                  </p:cond>
                </p:stCondLst>
                <p:endSync evt="end" delay="0">
                  <p:rtn val="all"/>
                </p:endSync>
                <p:childTnLst>
                  <p:par>
                    <p:cTn id="14" fill="hold">
                      <p:stCondLst>
                        <p:cond delay="0"/>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27"/>
                                        </p:tgtEl>
                                      </p:cBhvr>
                                    </p:animEffect>
                                    <p:set>
                                      <p:cBhvr>
                                        <p:cTn id="23" dur="1" fill="hold">
                                          <p:stCondLst>
                                            <p:cond delay="499"/>
                                          </p:stCondLst>
                                        </p:cTn>
                                        <p:tgtEl>
                                          <p:spTgt spid="27"/>
                                        </p:tgtEl>
                                        <p:attrNameLst>
                                          <p:attrName>style.visibility</p:attrName>
                                        </p:attrNameLst>
                                      </p:cBhvr>
                                      <p:to>
                                        <p:strVal val="hidden"/>
                                      </p:to>
                                    </p:set>
                                  </p:childTnLst>
                                </p:cTn>
                              </p:par>
                            </p:childTnLst>
                          </p:cTn>
                        </p:par>
                      </p:childTnLst>
                    </p:cTn>
                  </p:par>
                </p:childTnLst>
              </p:cTn>
              <p:nextCondLst>
                <p:cond evt="onClick" delay="0">
                  <p:tgtEl>
                    <p:spTgt spid="26"/>
                  </p:tgtEl>
                </p:cond>
              </p:nextCondLst>
            </p:seq>
            <p:seq concurrent="1" nextAc="seek">
              <p:cTn id="24" restart="whenNotActive" fill="hold" evtFilter="cancelBubble" nodeType="interactiveSeq">
                <p:stCondLst>
                  <p:cond evt="onClick" delay="0">
                    <p:tgtEl>
                      <p:spTgt spid="19"/>
                    </p:tgtEl>
                  </p:cond>
                </p:stCondLst>
                <p:endSync evt="end" delay="0">
                  <p:rtn val="all"/>
                </p:endSync>
                <p:childTnLst>
                  <p:par>
                    <p:cTn id="25" fill="hold">
                      <p:stCondLst>
                        <p:cond delay="0"/>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500"/>
                                        <p:tgtEl>
                                          <p:spTgt spid="9"/>
                                        </p:tgtEl>
                                      </p:cBhvr>
                                    </p:animEffect>
                                    <p:set>
                                      <p:cBhvr>
                                        <p:cTn id="34" dur="1" fill="hold">
                                          <p:stCondLst>
                                            <p:cond delay="499"/>
                                          </p:stCondLst>
                                        </p:cTn>
                                        <p:tgtEl>
                                          <p:spTgt spid="9"/>
                                        </p:tgtEl>
                                        <p:attrNameLst>
                                          <p:attrName>style.visibility</p:attrName>
                                        </p:attrNameLst>
                                      </p:cBhvr>
                                      <p:to>
                                        <p:strVal val="hidden"/>
                                      </p:to>
                                    </p:set>
                                  </p:childTnLst>
                                </p:cTn>
                              </p:par>
                            </p:childTnLst>
                          </p:cTn>
                        </p:par>
                      </p:childTnLst>
                    </p:cTn>
                  </p:par>
                </p:childTnLst>
              </p:cTn>
              <p:nextCondLst>
                <p:cond evt="onClick" delay="0">
                  <p:tgtEl>
                    <p:spTgt spid="19"/>
                  </p:tgtEl>
                </p:cond>
              </p:nextCondLst>
            </p:seq>
          </p:childTnLst>
        </p:cTn>
      </p:par>
    </p:tnLst>
    <p:bldLst>
      <p:bldP spid="12" grpId="0" animBg="1"/>
      <p:bldP spid="12"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35FBC36B-29A1-46F3-B6E7-EF992A50F434}"/>
              </a:ext>
            </a:extLst>
          </p:cNvPr>
          <p:cNvPicPr>
            <a:picLocks noChangeAspect="1"/>
          </p:cNvPicPr>
          <p:nvPr/>
        </p:nvPicPr>
        <p:blipFill>
          <a:blip r:embed="rId3"/>
          <a:stretch>
            <a:fillRect/>
          </a:stretch>
        </p:blipFill>
        <p:spPr>
          <a:xfrm>
            <a:off x="2438400" y="1376394"/>
            <a:ext cx="7316221" cy="5269966"/>
          </a:xfrm>
          <a:prstGeom prst="rect">
            <a:avLst/>
          </a:prstGeom>
        </p:spPr>
      </p:pic>
      <p:sp>
        <p:nvSpPr>
          <p:cNvPr id="3" name="Rectangle: Rounded Corners 2">
            <a:extLst>
              <a:ext uri="{FF2B5EF4-FFF2-40B4-BE49-F238E27FC236}">
                <a16:creationId xmlns:a16="http://schemas.microsoft.com/office/drawing/2014/main" id="{8452A011-28E3-49B4-AC6F-854C9F1262A3}"/>
              </a:ext>
            </a:extLst>
          </p:cNvPr>
          <p:cNvSpPr/>
          <p:nvPr/>
        </p:nvSpPr>
        <p:spPr>
          <a:xfrm>
            <a:off x="304800" y="307097"/>
            <a:ext cx="1989666" cy="618066"/>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bg1"/>
                </a:solidFill>
              </a:rPr>
              <a:t>Qualification, Quoting &amp; Ordering</a:t>
            </a:r>
          </a:p>
        </p:txBody>
      </p:sp>
      <p:sp>
        <p:nvSpPr>
          <p:cNvPr id="23" name="Rectangle: Rounded Corners 22">
            <a:extLst>
              <a:ext uri="{FF2B5EF4-FFF2-40B4-BE49-F238E27FC236}">
                <a16:creationId xmlns:a16="http://schemas.microsoft.com/office/drawing/2014/main" id="{0FB16219-0BB5-4E96-9AA2-69EE5CCC4838}"/>
              </a:ext>
            </a:extLst>
          </p:cNvPr>
          <p:cNvSpPr/>
          <p:nvPr/>
        </p:nvSpPr>
        <p:spPr>
          <a:xfrm>
            <a:off x="1353217" y="1015380"/>
            <a:ext cx="430467" cy="254478"/>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bg1"/>
                </a:solidFill>
              </a:rPr>
              <a:t>3</a:t>
            </a:r>
          </a:p>
        </p:txBody>
      </p:sp>
      <p:sp>
        <p:nvSpPr>
          <p:cNvPr id="32" name="Rectangle: Rounded Corners 31">
            <a:hlinkClick r:id="" action="ppaction://hlinkshowjump?jump=previousslide"/>
            <a:extLst>
              <a:ext uri="{FF2B5EF4-FFF2-40B4-BE49-F238E27FC236}">
                <a16:creationId xmlns:a16="http://schemas.microsoft.com/office/drawing/2014/main" id="{03BC21C8-D42B-4FB7-8BE2-216CCC0AF505}"/>
              </a:ext>
            </a:extLst>
          </p:cNvPr>
          <p:cNvSpPr/>
          <p:nvPr/>
        </p:nvSpPr>
        <p:spPr>
          <a:xfrm>
            <a:off x="225008" y="6221237"/>
            <a:ext cx="887052" cy="254478"/>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dirty="0">
                <a:solidFill>
                  <a:schemeClr val="bg1"/>
                </a:solidFill>
              </a:rPr>
              <a:t>&lt; Previous</a:t>
            </a:r>
          </a:p>
        </p:txBody>
      </p:sp>
      <p:sp>
        <p:nvSpPr>
          <p:cNvPr id="33" name="Rectangle: Rounded Corners 32">
            <a:hlinkClick r:id="" action="ppaction://hlinkshowjump?jump=nextslide"/>
            <a:extLst>
              <a:ext uri="{FF2B5EF4-FFF2-40B4-BE49-F238E27FC236}">
                <a16:creationId xmlns:a16="http://schemas.microsoft.com/office/drawing/2014/main" id="{E9321A6F-1CAC-433A-B9B9-DBC361371F40}"/>
              </a:ext>
            </a:extLst>
          </p:cNvPr>
          <p:cNvSpPr/>
          <p:nvPr/>
        </p:nvSpPr>
        <p:spPr>
          <a:xfrm>
            <a:off x="11079940" y="6221237"/>
            <a:ext cx="887052" cy="254478"/>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dirty="0">
                <a:solidFill>
                  <a:schemeClr val="bg1"/>
                </a:solidFill>
              </a:rPr>
              <a:t>Next &gt;</a:t>
            </a:r>
          </a:p>
        </p:txBody>
      </p:sp>
      <p:sp>
        <p:nvSpPr>
          <p:cNvPr id="35" name="Rectangle: Rounded Corners 34">
            <a:hlinkClick r:id="rId4" action="ppaction://hlinksldjump"/>
            <a:extLst>
              <a:ext uri="{FF2B5EF4-FFF2-40B4-BE49-F238E27FC236}">
                <a16:creationId xmlns:a16="http://schemas.microsoft.com/office/drawing/2014/main" id="{73AEC303-BECC-45E9-A890-C224DC9E9D9F}"/>
              </a:ext>
            </a:extLst>
          </p:cNvPr>
          <p:cNvSpPr/>
          <p:nvPr/>
        </p:nvSpPr>
        <p:spPr>
          <a:xfrm>
            <a:off x="26416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Service Inventory</a:t>
            </a:r>
          </a:p>
        </p:txBody>
      </p:sp>
      <p:sp>
        <p:nvSpPr>
          <p:cNvPr id="36" name="Rectangle: Rounded Corners 35">
            <a:hlinkClick r:id="rId5" action="ppaction://hlinksldjump"/>
            <a:extLst>
              <a:ext uri="{FF2B5EF4-FFF2-40B4-BE49-F238E27FC236}">
                <a16:creationId xmlns:a16="http://schemas.microsoft.com/office/drawing/2014/main" id="{D88DA6CD-0FF8-403D-92C9-0E1A45F177D6}"/>
              </a:ext>
            </a:extLst>
          </p:cNvPr>
          <p:cNvSpPr/>
          <p:nvPr/>
        </p:nvSpPr>
        <p:spPr>
          <a:xfrm>
            <a:off x="49784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Raising Service Incidents &amp; Enquiries</a:t>
            </a:r>
          </a:p>
        </p:txBody>
      </p:sp>
      <p:sp>
        <p:nvSpPr>
          <p:cNvPr id="37" name="Rectangle: Rounded Corners 36">
            <a:hlinkClick r:id="rId6" action="ppaction://hlinksldjump"/>
            <a:extLst>
              <a:ext uri="{FF2B5EF4-FFF2-40B4-BE49-F238E27FC236}">
                <a16:creationId xmlns:a16="http://schemas.microsoft.com/office/drawing/2014/main" id="{C46B21C2-8FF0-4582-BAD6-F92DE51276A8}"/>
              </a:ext>
            </a:extLst>
          </p:cNvPr>
          <p:cNvSpPr/>
          <p:nvPr/>
        </p:nvSpPr>
        <p:spPr>
          <a:xfrm>
            <a:off x="73152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Invoicing &amp; Payments</a:t>
            </a:r>
          </a:p>
        </p:txBody>
      </p:sp>
      <p:sp>
        <p:nvSpPr>
          <p:cNvPr id="38" name="Rectangle: Rounded Corners 37">
            <a:hlinkClick r:id="rId7" action="ppaction://hlinksldjump"/>
            <a:extLst>
              <a:ext uri="{FF2B5EF4-FFF2-40B4-BE49-F238E27FC236}">
                <a16:creationId xmlns:a16="http://schemas.microsoft.com/office/drawing/2014/main" id="{56F4DA54-A182-4D52-8387-E805BB5AC1F8}"/>
              </a:ext>
            </a:extLst>
          </p:cNvPr>
          <p:cNvSpPr/>
          <p:nvPr/>
        </p:nvSpPr>
        <p:spPr>
          <a:xfrm>
            <a:off x="96520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User Administration</a:t>
            </a:r>
          </a:p>
        </p:txBody>
      </p:sp>
      <p:sp>
        <p:nvSpPr>
          <p:cNvPr id="39" name="Rectangle: Rounded Corners 38">
            <a:hlinkClick r:id="rId8" action="ppaction://hlinksldjump"/>
            <a:extLst>
              <a:ext uri="{FF2B5EF4-FFF2-40B4-BE49-F238E27FC236}">
                <a16:creationId xmlns:a16="http://schemas.microsoft.com/office/drawing/2014/main" id="{7E701E5E-F271-4E74-81AF-7EC3174D70BB}"/>
              </a:ext>
            </a:extLst>
          </p:cNvPr>
          <p:cNvSpPr/>
          <p:nvPr/>
        </p:nvSpPr>
        <p:spPr>
          <a:xfrm>
            <a:off x="837579" y="1015380"/>
            <a:ext cx="430467" cy="254478"/>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2</a:t>
            </a:r>
          </a:p>
        </p:txBody>
      </p:sp>
      <p:sp>
        <p:nvSpPr>
          <p:cNvPr id="40" name="Rectangle: Rounded Corners 39">
            <a:hlinkClick r:id="rId9" action="ppaction://hlinksldjump"/>
            <a:extLst>
              <a:ext uri="{FF2B5EF4-FFF2-40B4-BE49-F238E27FC236}">
                <a16:creationId xmlns:a16="http://schemas.microsoft.com/office/drawing/2014/main" id="{4326DCED-98A1-42D4-A036-511A20768D11}"/>
              </a:ext>
            </a:extLst>
          </p:cNvPr>
          <p:cNvSpPr/>
          <p:nvPr/>
        </p:nvSpPr>
        <p:spPr>
          <a:xfrm>
            <a:off x="304639" y="1015380"/>
            <a:ext cx="430467" cy="254478"/>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1</a:t>
            </a:r>
          </a:p>
        </p:txBody>
      </p:sp>
      <p:sp>
        <p:nvSpPr>
          <p:cNvPr id="41" name="Rectangle: Rounded Corners 40">
            <a:hlinkClick r:id="rId10" action="ppaction://hlinksldjump"/>
            <a:extLst>
              <a:ext uri="{FF2B5EF4-FFF2-40B4-BE49-F238E27FC236}">
                <a16:creationId xmlns:a16="http://schemas.microsoft.com/office/drawing/2014/main" id="{2DAD4F36-0D85-4073-8FAB-C8B53777EAB7}"/>
              </a:ext>
            </a:extLst>
          </p:cNvPr>
          <p:cNvSpPr/>
          <p:nvPr/>
        </p:nvSpPr>
        <p:spPr>
          <a:xfrm>
            <a:off x="1868855" y="1015380"/>
            <a:ext cx="430467" cy="254478"/>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4</a:t>
            </a:r>
          </a:p>
        </p:txBody>
      </p:sp>
      <p:sp>
        <p:nvSpPr>
          <p:cNvPr id="14" name="TextBox 13">
            <a:extLst>
              <a:ext uri="{FF2B5EF4-FFF2-40B4-BE49-F238E27FC236}">
                <a16:creationId xmlns:a16="http://schemas.microsoft.com/office/drawing/2014/main" id="{9DA0976C-9FFE-4FAD-A948-0A43AD793AF6}"/>
              </a:ext>
            </a:extLst>
          </p:cNvPr>
          <p:cNvSpPr txBox="1"/>
          <p:nvPr/>
        </p:nvSpPr>
        <p:spPr>
          <a:xfrm>
            <a:off x="3358683" y="4765920"/>
            <a:ext cx="1989667" cy="106952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Path Selection</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he most efficient diverse paths are presented, with fibre distances and anticipated attenuation figures</a:t>
            </a:r>
          </a:p>
        </p:txBody>
      </p:sp>
      <p:sp>
        <p:nvSpPr>
          <p:cNvPr id="15" name="Flowchart: Off-page Connector 14">
            <a:extLst>
              <a:ext uri="{FF2B5EF4-FFF2-40B4-BE49-F238E27FC236}">
                <a16:creationId xmlns:a16="http://schemas.microsoft.com/office/drawing/2014/main" id="{81B29C03-D0FA-4D4E-AA02-6323A154A5DD}"/>
              </a:ext>
            </a:extLst>
          </p:cNvPr>
          <p:cNvSpPr/>
          <p:nvPr/>
        </p:nvSpPr>
        <p:spPr>
          <a:xfrm>
            <a:off x="4762902" y="4457192"/>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1</a:t>
            </a:r>
          </a:p>
        </p:txBody>
      </p:sp>
      <p:sp>
        <p:nvSpPr>
          <p:cNvPr id="16" name="TextBox 15">
            <a:extLst>
              <a:ext uri="{FF2B5EF4-FFF2-40B4-BE49-F238E27FC236}">
                <a16:creationId xmlns:a16="http://schemas.microsoft.com/office/drawing/2014/main" id="{C401F813-CD49-4D57-8B66-51D910FBB428}"/>
              </a:ext>
            </a:extLst>
          </p:cNvPr>
          <p:cNvSpPr txBox="1"/>
          <p:nvPr/>
        </p:nvSpPr>
        <p:spPr>
          <a:xfrm>
            <a:off x="5848818" y="4231158"/>
            <a:ext cx="1989667" cy="106952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KML Download</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ath KML file is available for immediate download to allow you to compare available paths to your existing service paths (if applicable)</a:t>
            </a:r>
          </a:p>
        </p:txBody>
      </p:sp>
      <p:sp>
        <p:nvSpPr>
          <p:cNvPr id="17" name="Flowchart: Off-page Connector 16">
            <a:extLst>
              <a:ext uri="{FF2B5EF4-FFF2-40B4-BE49-F238E27FC236}">
                <a16:creationId xmlns:a16="http://schemas.microsoft.com/office/drawing/2014/main" id="{CA870C0C-3CAD-4518-8166-30A3FCC909E7}"/>
              </a:ext>
            </a:extLst>
          </p:cNvPr>
          <p:cNvSpPr/>
          <p:nvPr/>
        </p:nvSpPr>
        <p:spPr>
          <a:xfrm>
            <a:off x="7253037" y="3922430"/>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2</a:t>
            </a:r>
          </a:p>
        </p:txBody>
      </p:sp>
      <p:sp>
        <p:nvSpPr>
          <p:cNvPr id="18" name="TextBox 17">
            <a:extLst>
              <a:ext uri="{FF2B5EF4-FFF2-40B4-BE49-F238E27FC236}">
                <a16:creationId xmlns:a16="http://schemas.microsoft.com/office/drawing/2014/main" id="{6296947D-3D1E-4B17-B09E-A8140622CF9B}"/>
              </a:ext>
            </a:extLst>
          </p:cNvPr>
          <p:cNvSpPr txBox="1"/>
          <p:nvPr/>
        </p:nvSpPr>
        <p:spPr>
          <a:xfrm>
            <a:off x="3859151" y="2423101"/>
            <a:ext cx="1989667" cy="1877437"/>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Path Availability</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You’re advised during the qualification process of the real-time availability of pre-built fibre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Green: Lot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Amber: Limited</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Red: None currently </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vailable but will be     </a:t>
            </a:r>
          </a:p>
          <a:p>
            <a:pPr>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delivered within five </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5) business days</a:t>
            </a:r>
          </a:p>
        </p:txBody>
      </p:sp>
      <p:sp>
        <p:nvSpPr>
          <p:cNvPr id="19" name="Flowchart: Off-page Connector 18">
            <a:extLst>
              <a:ext uri="{FF2B5EF4-FFF2-40B4-BE49-F238E27FC236}">
                <a16:creationId xmlns:a16="http://schemas.microsoft.com/office/drawing/2014/main" id="{D26D798A-D003-4825-AE47-958ABB42B394}"/>
              </a:ext>
            </a:extLst>
          </p:cNvPr>
          <p:cNvSpPr/>
          <p:nvPr/>
        </p:nvSpPr>
        <p:spPr>
          <a:xfrm>
            <a:off x="5263370" y="2114373"/>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3</a:t>
            </a:r>
          </a:p>
        </p:txBody>
      </p:sp>
      <p:sp>
        <p:nvSpPr>
          <p:cNvPr id="20" name="TextBox 19">
            <a:extLst>
              <a:ext uri="{FF2B5EF4-FFF2-40B4-BE49-F238E27FC236}">
                <a16:creationId xmlns:a16="http://schemas.microsoft.com/office/drawing/2014/main" id="{6E9D749E-1E78-4FA2-9892-99DA389131F5}"/>
              </a:ext>
            </a:extLst>
          </p:cNvPr>
          <p:cNvSpPr txBox="1"/>
          <p:nvPr/>
        </p:nvSpPr>
        <p:spPr>
          <a:xfrm>
            <a:off x="7070440" y="3121822"/>
            <a:ext cx="1989667" cy="746358"/>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Order &gt; 1 Service</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FibreconX supports ordering multiple dark fibre services in a single transaction</a:t>
            </a:r>
          </a:p>
        </p:txBody>
      </p:sp>
      <p:sp>
        <p:nvSpPr>
          <p:cNvPr id="21" name="Flowchart: Off-page Connector 20">
            <a:extLst>
              <a:ext uri="{FF2B5EF4-FFF2-40B4-BE49-F238E27FC236}">
                <a16:creationId xmlns:a16="http://schemas.microsoft.com/office/drawing/2014/main" id="{5DA298F0-691B-40E8-921E-6B227535BCF1}"/>
              </a:ext>
            </a:extLst>
          </p:cNvPr>
          <p:cNvSpPr/>
          <p:nvPr/>
        </p:nvSpPr>
        <p:spPr>
          <a:xfrm>
            <a:off x="7960360" y="4003417"/>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5</a:t>
            </a:r>
          </a:p>
        </p:txBody>
      </p:sp>
      <p:sp>
        <p:nvSpPr>
          <p:cNvPr id="22" name="TextBox 21">
            <a:extLst>
              <a:ext uri="{FF2B5EF4-FFF2-40B4-BE49-F238E27FC236}">
                <a16:creationId xmlns:a16="http://schemas.microsoft.com/office/drawing/2014/main" id="{1F091637-5B8E-4625-894D-2AC93FCE3D70}"/>
              </a:ext>
            </a:extLst>
          </p:cNvPr>
          <p:cNvSpPr txBox="1"/>
          <p:nvPr/>
        </p:nvSpPr>
        <p:spPr>
          <a:xfrm>
            <a:off x="5561307" y="5679182"/>
            <a:ext cx="1989667" cy="584775"/>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Real-time Quoting</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ceive an instant quote for services</a:t>
            </a:r>
          </a:p>
        </p:txBody>
      </p:sp>
      <p:sp>
        <p:nvSpPr>
          <p:cNvPr id="24" name="Flowchart: Off-page Connector 23">
            <a:extLst>
              <a:ext uri="{FF2B5EF4-FFF2-40B4-BE49-F238E27FC236}">
                <a16:creationId xmlns:a16="http://schemas.microsoft.com/office/drawing/2014/main" id="{55BE8CCB-050F-4199-A57C-77E1EE75BA2A}"/>
              </a:ext>
            </a:extLst>
          </p:cNvPr>
          <p:cNvSpPr/>
          <p:nvPr/>
        </p:nvSpPr>
        <p:spPr>
          <a:xfrm>
            <a:off x="7628656" y="5854381"/>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6</a:t>
            </a:r>
          </a:p>
        </p:txBody>
      </p:sp>
      <p:sp>
        <p:nvSpPr>
          <p:cNvPr id="25" name="TextBox 24">
            <a:extLst>
              <a:ext uri="{FF2B5EF4-FFF2-40B4-BE49-F238E27FC236}">
                <a16:creationId xmlns:a16="http://schemas.microsoft.com/office/drawing/2014/main" id="{942C557E-8A8E-42E8-8243-A369798A5C2D}"/>
              </a:ext>
            </a:extLst>
          </p:cNvPr>
          <p:cNvSpPr txBox="1"/>
          <p:nvPr/>
        </p:nvSpPr>
        <p:spPr>
          <a:xfrm>
            <a:off x="4105584" y="5039163"/>
            <a:ext cx="1989667" cy="907941"/>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Custom Path Selection</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f the proposed paths don’t meet your requirements, select ‘Custom Path’ and provide your requirements</a:t>
            </a:r>
          </a:p>
        </p:txBody>
      </p:sp>
      <p:sp>
        <p:nvSpPr>
          <p:cNvPr id="26" name="Flowchart: Off-page Connector 25">
            <a:extLst>
              <a:ext uri="{FF2B5EF4-FFF2-40B4-BE49-F238E27FC236}">
                <a16:creationId xmlns:a16="http://schemas.microsoft.com/office/drawing/2014/main" id="{F42A709C-4990-4EB5-B1CE-FBEC023A174E}"/>
              </a:ext>
            </a:extLst>
          </p:cNvPr>
          <p:cNvSpPr/>
          <p:nvPr/>
        </p:nvSpPr>
        <p:spPr>
          <a:xfrm>
            <a:off x="5509803" y="4730435"/>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4</a:t>
            </a:r>
          </a:p>
        </p:txBody>
      </p:sp>
    </p:spTree>
    <p:extLst>
      <p:ext uri="{BB962C8B-B14F-4D97-AF65-F5344CB8AC3E}">
        <p14:creationId xmlns:p14="http://schemas.microsoft.com/office/powerpoint/2010/main" val="2402903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5"/>
                    </p:tgtEl>
                  </p:cond>
                </p:stCondLst>
                <p:endSync evt="end" delay="0">
                  <p:rtn val="all"/>
                </p:endSync>
                <p:childTnLst>
                  <p:par>
                    <p:cTn id="3" fill="hold">
                      <p:stCondLst>
                        <p:cond delay="0"/>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14"/>
                                        </p:tgtEl>
                                      </p:cBhvr>
                                    </p:animEffect>
                                    <p:set>
                                      <p:cBhvr>
                                        <p:cTn id="12" dur="1" fill="hold">
                                          <p:stCondLst>
                                            <p:cond delay="499"/>
                                          </p:stCondLst>
                                        </p:cTn>
                                        <p:tgtEl>
                                          <p:spTgt spid="14"/>
                                        </p:tgtEl>
                                        <p:attrNameLst>
                                          <p:attrName>style.visibility</p:attrName>
                                        </p:attrNameLst>
                                      </p:cBhvr>
                                      <p:to>
                                        <p:strVal val="hidden"/>
                                      </p:to>
                                    </p:set>
                                  </p:childTnLst>
                                </p:cTn>
                              </p:par>
                            </p:childTnLst>
                          </p:cTn>
                        </p:par>
                      </p:childTnLst>
                    </p:cTn>
                  </p:par>
                </p:childTnLst>
              </p:cTn>
              <p:nextCondLst>
                <p:cond evt="onClick" delay="0">
                  <p:tgtEl>
                    <p:spTgt spid="15"/>
                  </p:tgtEl>
                </p:cond>
              </p:nextCondLst>
            </p:seq>
            <p:seq concurrent="1" nextAc="seek">
              <p:cTn id="13" restart="whenNotActive" fill="hold" evtFilter="cancelBubble" nodeType="interactiveSeq">
                <p:stCondLst>
                  <p:cond evt="onClick" delay="0">
                    <p:tgtEl>
                      <p:spTgt spid="17"/>
                    </p:tgtEl>
                  </p:cond>
                </p:stCondLst>
                <p:endSync evt="end" delay="0">
                  <p:rtn val="all"/>
                </p:endSync>
                <p:childTnLst>
                  <p:par>
                    <p:cTn id="14" fill="hold">
                      <p:stCondLst>
                        <p:cond delay="0"/>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16"/>
                                        </p:tgtEl>
                                      </p:cBhvr>
                                    </p:animEffect>
                                    <p:set>
                                      <p:cBhvr>
                                        <p:cTn id="23" dur="1" fill="hold">
                                          <p:stCondLst>
                                            <p:cond delay="499"/>
                                          </p:stCondLst>
                                        </p:cTn>
                                        <p:tgtEl>
                                          <p:spTgt spid="16"/>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24" restart="whenNotActive" fill="hold" evtFilter="cancelBubble" nodeType="interactiveSeq">
                <p:stCondLst>
                  <p:cond evt="onClick" delay="0">
                    <p:tgtEl>
                      <p:spTgt spid="19"/>
                    </p:tgtEl>
                  </p:cond>
                </p:stCondLst>
                <p:endSync evt="end" delay="0">
                  <p:rtn val="all"/>
                </p:endSync>
                <p:childTnLst>
                  <p:par>
                    <p:cTn id="25" fill="hold">
                      <p:stCondLst>
                        <p:cond delay="0"/>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grpId="1" nodeType="clickEffect">
                                  <p:stCondLst>
                                    <p:cond delay="0"/>
                                  </p:stCondLst>
                                  <p:childTnLst>
                                    <p:animEffect transition="out" filter="fade">
                                      <p:cBhvr>
                                        <p:cTn id="33" dur="500"/>
                                        <p:tgtEl>
                                          <p:spTgt spid="18"/>
                                        </p:tgtEl>
                                      </p:cBhvr>
                                    </p:animEffect>
                                    <p:set>
                                      <p:cBhvr>
                                        <p:cTn id="34" dur="1" fill="hold">
                                          <p:stCondLst>
                                            <p:cond delay="499"/>
                                          </p:stCondLst>
                                        </p:cTn>
                                        <p:tgtEl>
                                          <p:spTgt spid="18"/>
                                        </p:tgtEl>
                                        <p:attrNameLst>
                                          <p:attrName>style.visibility</p:attrName>
                                        </p:attrNameLst>
                                      </p:cBhvr>
                                      <p:to>
                                        <p:strVal val="hidden"/>
                                      </p:to>
                                    </p:set>
                                  </p:childTnLst>
                                </p:cTn>
                              </p:par>
                            </p:childTnLst>
                          </p:cTn>
                        </p:par>
                      </p:childTnLst>
                    </p:cTn>
                  </p:par>
                </p:childTnLst>
              </p:cTn>
              <p:nextCondLst>
                <p:cond evt="onClick" delay="0">
                  <p:tgtEl>
                    <p:spTgt spid="19"/>
                  </p:tgtEl>
                </p:cond>
              </p:nextCondLst>
            </p:seq>
            <p:seq concurrent="1" nextAc="seek">
              <p:cTn id="35" restart="whenNotActive" fill="hold" evtFilter="cancelBubble" nodeType="interactiveSeq">
                <p:stCondLst>
                  <p:cond evt="onClick" delay="0">
                    <p:tgtEl>
                      <p:spTgt spid="21"/>
                    </p:tgtEl>
                  </p:cond>
                </p:stCondLst>
                <p:endSync evt="end" delay="0">
                  <p:rtn val="all"/>
                </p:endSync>
                <p:childTnLst>
                  <p:par>
                    <p:cTn id="36" fill="hold">
                      <p:stCondLst>
                        <p:cond delay="0"/>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grpId="1" nodeType="clickEffect">
                                  <p:stCondLst>
                                    <p:cond delay="0"/>
                                  </p:stCondLst>
                                  <p:childTnLst>
                                    <p:animEffect transition="out" filter="fade">
                                      <p:cBhvr>
                                        <p:cTn id="44" dur="500"/>
                                        <p:tgtEl>
                                          <p:spTgt spid="20"/>
                                        </p:tgtEl>
                                      </p:cBhvr>
                                    </p:animEffect>
                                    <p:set>
                                      <p:cBhvr>
                                        <p:cTn id="45" dur="1" fill="hold">
                                          <p:stCondLst>
                                            <p:cond delay="499"/>
                                          </p:stCondLst>
                                        </p:cTn>
                                        <p:tgtEl>
                                          <p:spTgt spid="20"/>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46" restart="whenNotActive" fill="hold" evtFilter="cancelBubble" nodeType="interactiveSeq">
                <p:stCondLst>
                  <p:cond evt="onClick" delay="0">
                    <p:tgtEl>
                      <p:spTgt spid="24"/>
                    </p:tgtEl>
                  </p:cond>
                </p:stCondLst>
                <p:endSync evt="end" delay="0">
                  <p:rtn val="all"/>
                </p:endSync>
                <p:childTnLst>
                  <p:par>
                    <p:cTn id="47" fill="hold">
                      <p:stCondLst>
                        <p:cond delay="0"/>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xit" presetSubtype="0" fill="hold" grpId="1" nodeType="clickEffect">
                                  <p:stCondLst>
                                    <p:cond delay="0"/>
                                  </p:stCondLst>
                                  <p:childTnLst>
                                    <p:animEffect transition="out" filter="fade">
                                      <p:cBhvr>
                                        <p:cTn id="55" dur="500"/>
                                        <p:tgtEl>
                                          <p:spTgt spid="22"/>
                                        </p:tgtEl>
                                      </p:cBhvr>
                                    </p:animEffect>
                                    <p:set>
                                      <p:cBhvr>
                                        <p:cTn id="56" dur="1" fill="hold">
                                          <p:stCondLst>
                                            <p:cond delay="499"/>
                                          </p:stCondLst>
                                        </p:cTn>
                                        <p:tgtEl>
                                          <p:spTgt spid="22"/>
                                        </p:tgtEl>
                                        <p:attrNameLst>
                                          <p:attrName>style.visibility</p:attrName>
                                        </p:attrNameLst>
                                      </p:cBhvr>
                                      <p:to>
                                        <p:strVal val="hidden"/>
                                      </p:to>
                                    </p:set>
                                  </p:childTnLst>
                                </p:cTn>
                              </p:par>
                            </p:childTnLst>
                          </p:cTn>
                        </p:par>
                      </p:childTnLst>
                    </p:cTn>
                  </p:par>
                </p:childTnLst>
              </p:cTn>
              <p:nextCondLst>
                <p:cond evt="onClick" delay="0">
                  <p:tgtEl>
                    <p:spTgt spid="24"/>
                  </p:tgtEl>
                </p:cond>
              </p:nextCondLst>
            </p:seq>
            <p:seq concurrent="1" nextAc="seek">
              <p:cTn id="57" restart="whenNotActive" fill="hold" evtFilter="cancelBubble" nodeType="interactiveSeq">
                <p:stCondLst>
                  <p:cond evt="onClick" delay="0">
                    <p:tgtEl>
                      <p:spTgt spid="26"/>
                    </p:tgtEl>
                  </p:cond>
                </p:stCondLst>
                <p:endSync evt="end" delay="0">
                  <p:rtn val="all"/>
                </p:endSync>
                <p:childTnLst>
                  <p:par>
                    <p:cTn id="58" fill="hold">
                      <p:stCondLst>
                        <p:cond delay="0"/>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grpId="1" nodeType="clickEffect">
                                  <p:stCondLst>
                                    <p:cond delay="0"/>
                                  </p:stCondLst>
                                  <p:childTnLst>
                                    <p:animEffect transition="out" filter="fade">
                                      <p:cBhvr>
                                        <p:cTn id="66" dur="500"/>
                                        <p:tgtEl>
                                          <p:spTgt spid="25"/>
                                        </p:tgtEl>
                                      </p:cBhvr>
                                    </p:animEffect>
                                    <p:set>
                                      <p:cBhvr>
                                        <p:cTn id="67" dur="1" fill="hold">
                                          <p:stCondLst>
                                            <p:cond delay="499"/>
                                          </p:stCondLst>
                                        </p:cTn>
                                        <p:tgtEl>
                                          <p:spTgt spid="25"/>
                                        </p:tgtEl>
                                        <p:attrNameLst>
                                          <p:attrName>style.visibility</p:attrName>
                                        </p:attrNameLst>
                                      </p:cBhvr>
                                      <p:to>
                                        <p:strVal val="hidden"/>
                                      </p:to>
                                    </p:set>
                                  </p:childTnLst>
                                </p:cTn>
                              </p:par>
                            </p:childTnLst>
                          </p:cTn>
                        </p:par>
                      </p:childTnLst>
                    </p:cTn>
                  </p:par>
                </p:childTnLst>
              </p:cTn>
              <p:nextCondLst>
                <p:cond evt="onClick" delay="0">
                  <p:tgtEl>
                    <p:spTgt spid="26"/>
                  </p:tgtEl>
                </p:cond>
              </p:nextCondLst>
            </p:seq>
          </p:childTnLst>
        </p:cTn>
      </p:par>
    </p:tnLst>
    <p:bldLst>
      <p:bldP spid="14" grpId="0" animBg="1"/>
      <p:bldP spid="14" grpId="1" animBg="1"/>
      <p:bldP spid="16" grpId="0" animBg="1"/>
      <p:bldP spid="16" grpId="1" animBg="1"/>
      <p:bldP spid="18" grpId="0" animBg="1"/>
      <p:bldP spid="18" grpId="1" animBg="1"/>
      <p:bldP spid="20" grpId="0" animBg="1"/>
      <p:bldP spid="20" grpId="1" animBg="1"/>
      <p:bldP spid="22" grpId="0" animBg="1"/>
      <p:bldP spid="22" grpId="1" animBg="1"/>
      <p:bldP spid="25" grpId="0" animBg="1"/>
      <p:bldP spid="25"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2E4C6BD6-CF09-4CD3-8CF2-76F130C9AABB}"/>
              </a:ext>
            </a:extLst>
          </p:cNvPr>
          <p:cNvPicPr>
            <a:picLocks noChangeAspect="1"/>
          </p:cNvPicPr>
          <p:nvPr/>
        </p:nvPicPr>
        <p:blipFill>
          <a:blip r:embed="rId3"/>
          <a:stretch>
            <a:fillRect/>
          </a:stretch>
        </p:blipFill>
        <p:spPr>
          <a:xfrm>
            <a:off x="1548786" y="1380889"/>
            <a:ext cx="9145277" cy="5182323"/>
          </a:xfrm>
          <a:prstGeom prst="rect">
            <a:avLst/>
          </a:prstGeom>
        </p:spPr>
      </p:pic>
      <p:sp>
        <p:nvSpPr>
          <p:cNvPr id="3" name="Rectangle: Rounded Corners 2">
            <a:extLst>
              <a:ext uri="{FF2B5EF4-FFF2-40B4-BE49-F238E27FC236}">
                <a16:creationId xmlns:a16="http://schemas.microsoft.com/office/drawing/2014/main" id="{8452A011-28E3-49B4-AC6F-854C9F1262A3}"/>
              </a:ext>
            </a:extLst>
          </p:cNvPr>
          <p:cNvSpPr/>
          <p:nvPr/>
        </p:nvSpPr>
        <p:spPr>
          <a:xfrm>
            <a:off x="304800" y="307097"/>
            <a:ext cx="1989666" cy="618066"/>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bg1"/>
                </a:solidFill>
              </a:rPr>
              <a:t>Qualification, Quoting &amp; Ordering</a:t>
            </a:r>
          </a:p>
        </p:txBody>
      </p:sp>
      <p:sp>
        <p:nvSpPr>
          <p:cNvPr id="20" name="Rectangle: Rounded Corners 19">
            <a:hlinkClick r:id="rId4" action="ppaction://hlinksldjump"/>
            <a:extLst>
              <a:ext uri="{FF2B5EF4-FFF2-40B4-BE49-F238E27FC236}">
                <a16:creationId xmlns:a16="http://schemas.microsoft.com/office/drawing/2014/main" id="{DB18C080-93D3-4CD1-9D24-950E8925A9C7}"/>
              </a:ext>
            </a:extLst>
          </p:cNvPr>
          <p:cNvSpPr/>
          <p:nvPr/>
        </p:nvSpPr>
        <p:spPr>
          <a:xfrm>
            <a:off x="304639" y="1015380"/>
            <a:ext cx="430467" cy="254478"/>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1</a:t>
            </a:r>
          </a:p>
        </p:txBody>
      </p:sp>
      <p:sp>
        <p:nvSpPr>
          <p:cNvPr id="21" name="Rectangle: Rounded Corners 20">
            <a:extLst>
              <a:ext uri="{FF2B5EF4-FFF2-40B4-BE49-F238E27FC236}">
                <a16:creationId xmlns:a16="http://schemas.microsoft.com/office/drawing/2014/main" id="{B2E75AFC-0A24-4011-B57A-E7DD3D1009FA}"/>
              </a:ext>
            </a:extLst>
          </p:cNvPr>
          <p:cNvSpPr/>
          <p:nvPr/>
        </p:nvSpPr>
        <p:spPr>
          <a:xfrm>
            <a:off x="1868855" y="1015380"/>
            <a:ext cx="430467" cy="254478"/>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bg1"/>
                </a:solidFill>
              </a:rPr>
              <a:t>4</a:t>
            </a:r>
          </a:p>
        </p:txBody>
      </p:sp>
      <p:sp>
        <p:nvSpPr>
          <p:cNvPr id="32" name="Rectangle: Rounded Corners 31">
            <a:hlinkClick r:id="" action="ppaction://hlinkshowjump?jump=previousslide"/>
            <a:extLst>
              <a:ext uri="{FF2B5EF4-FFF2-40B4-BE49-F238E27FC236}">
                <a16:creationId xmlns:a16="http://schemas.microsoft.com/office/drawing/2014/main" id="{50A486A7-CC54-4DC9-89DC-8E6BF0723284}"/>
              </a:ext>
            </a:extLst>
          </p:cNvPr>
          <p:cNvSpPr/>
          <p:nvPr/>
        </p:nvSpPr>
        <p:spPr>
          <a:xfrm>
            <a:off x="225008" y="6221237"/>
            <a:ext cx="887052" cy="254478"/>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050" dirty="0">
                <a:solidFill>
                  <a:schemeClr val="bg1"/>
                </a:solidFill>
              </a:rPr>
              <a:t>&lt; Previous</a:t>
            </a:r>
          </a:p>
        </p:txBody>
      </p:sp>
      <p:sp>
        <p:nvSpPr>
          <p:cNvPr id="34" name="Rectangle: Rounded Corners 33">
            <a:hlinkClick r:id="rId5" action="ppaction://hlinksldjump"/>
            <a:extLst>
              <a:ext uri="{FF2B5EF4-FFF2-40B4-BE49-F238E27FC236}">
                <a16:creationId xmlns:a16="http://schemas.microsoft.com/office/drawing/2014/main" id="{23A3A87C-0392-458D-9929-8D9DDF9D37D0}"/>
              </a:ext>
            </a:extLst>
          </p:cNvPr>
          <p:cNvSpPr/>
          <p:nvPr/>
        </p:nvSpPr>
        <p:spPr>
          <a:xfrm>
            <a:off x="26416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Service Inventory</a:t>
            </a:r>
          </a:p>
        </p:txBody>
      </p:sp>
      <p:sp>
        <p:nvSpPr>
          <p:cNvPr id="35" name="Rectangle: Rounded Corners 34">
            <a:hlinkClick r:id="rId6" action="ppaction://hlinksldjump"/>
            <a:extLst>
              <a:ext uri="{FF2B5EF4-FFF2-40B4-BE49-F238E27FC236}">
                <a16:creationId xmlns:a16="http://schemas.microsoft.com/office/drawing/2014/main" id="{61D702D4-B011-4248-8BB8-66C523EDF1F4}"/>
              </a:ext>
            </a:extLst>
          </p:cNvPr>
          <p:cNvSpPr/>
          <p:nvPr/>
        </p:nvSpPr>
        <p:spPr>
          <a:xfrm>
            <a:off x="49784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Raising Service Incidents &amp; Enquiries</a:t>
            </a:r>
          </a:p>
        </p:txBody>
      </p:sp>
      <p:sp>
        <p:nvSpPr>
          <p:cNvPr id="36" name="Rectangle: Rounded Corners 35">
            <a:hlinkClick r:id="rId7" action="ppaction://hlinksldjump"/>
            <a:extLst>
              <a:ext uri="{FF2B5EF4-FFF2-40B4-BE49-F238E27FC236}">
                <a16:creationId xmlns:a16="http://schemas.microsoft.com/office/drawing/2014/main" id="{28A9DA75-78D7-43A2-A95C-790B8C757352}"/>
              </a:ext>
            </a:extLst>
          </p:cNvPr>
          <p:cNvSpPr/>
          <p:nvPr/>
        </p:nvSpPr>
        <p:spPr>
          <a:xfrm>
            <a:off x="73152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Invoicing &amp; Payments</a:t>
            </a:r>
          </a:p>
        </p:txBody>
      </p:sp>
      <p:sp>
        <p:nvSpPr>
          <p:cNvPr id="37" name="Rectangle: Rounded Corners 36">
            <a:hlinkClick r:id="rId8" action="ppaction://hlinksldjump"/>
            <a:extLst>
              <a:ext uri="{FF2B5EF4-FFF2-40B4-BE49-F238E27FC236}">
                <a16:creationId xmlns:a16="http://schemas.microsoft.com/office/drawing/2014/main" id="{6F48DC07-3A14-412F-A777-195C82C0F6C6}"/>
              </a:ext>
            </a:extLst>
          </p:cNvPr>
          <p:cNvSpPr/>
          <p:nvPr/>
        </p:nvSpPr>
        <p:spPr>
          <a:xfrm>
            <a:off x="96520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User Administration</a:t>
            </a:r>
          </a:p>
        </p:txBody>
      </p:sp>
      <p:sp>
        <p:nvSpPr>
          <p:cNvPr id="38" name="Rectangle: Rounded Corners 37">
            <a:hlinkClick r:id="rId9" action="ppaction://hlinksldjump"/>
            <a:extLst>
              <a:ext uri="{FF2B5EF4-FFF2-40B4-BE49-F238E27FC236}">
                <a16:creationId xmlns:a16="http://schemas.microsoft.com/office/drawing/2014/main" id="{C9EF3D23-80EB-4856-B8EC-F6DE49AB34BD}"/>
              </a:ext>
            </a:extLst>
          </p:cNvPr>
          <p:cNvSpPr/>
          <p:nvPr/>
        </p:nvSpPr>
        <p:spPr>
          <a:xfrm>
            <a:off x="837579" y="1015380"/>
            <a:ext cx="430467" cy="254478"/>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2</a:t>
            </a:r>
          </a:p>
        </p:txBody>
      </p:sp>
      <p:sp>
        <p:nvSpPr>
          <p:cNvPr id="39" name="Rectangle: Rounded Corners 38">
            <a:hlinkClick r:id="rId10" action="ppaction://hlinksldjump"/>
            <a:extLst>
              <a:ext uri="{FF2B5EF4-FFF2-40B4-BE49-F238E27FC236}">
                <a16:creationId xmlns:a16="http://schemas.microsoft.com/office/drawing/2014/main" id="{09F474A2-F084-4195-BF99-4E4F9E6D6399}"/>
              </a:ext>
            </a:extLst>
          </p:cNvPr>
          <p:cNvSpPr/>
          <p:nvPr/>
        </p:nvSpPr>
        <p:spPr>
          <a:xfrm>
            <a:off x="1353217" y="1015380"/>
            <a:ext cx="430467" cy="254478"/>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3</a:t>
            </a:r>
          </a:p>
        </p:txBody>
      </p:sp>
      <p:sp>
        <p:nvSpPr>
          <p:cNvPr id="17" name="Flowchart: Off-page Connector 16">
            <a:extLst>
              <a:ext uri="{FF2B5EF4-FFF2-40B4-BE49-F238E27FC236}">
                <a16:creationId xmlns:a16="http://schemas.microsoft.com/office/drawing/2014/main" id="{0CC6E29A-A505-4155-8A97-28C303439923}"/>
              </a:ext>
            </a:extLst>
          </p:cNvPr>
          <p:cNvSpPr/>
          <p:nvPr/>
        </p:nvSpPr>
        <p:spPr>
          <a:xfrm>
            <a:off x="10309289" y="1694106"/>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2</a:t>
            </a:r>
          </a:p>
        </p:txBody>
      </p:sp>
      <p:grpSp>
        <p:nvGrpSpPr>
          <p:cNvPr id="10" name="Group 9">
            <a:extLst>
              <a:ext uri="{FF2B5EF4-FFF2-40B4-BE49-F238E27FC236}">
                <a16:creationId xmlns:a16="http://schemas.microsoft.com/office/drawing/2014/main" id="{54707384-63E1-4BF0-A419-935F439734B7}"/>
              </a:ext>
            </a:extLst>
          </p:cNvPr>
          <p:cNvGrpSpPr/>
          <p:nvPr/>
        </p:nvGrpSpPr>
        <p:grpSpPr>
          <a:xfrm>
            <a:off x="3200953" y="1759824"/>
            <a:ext cx="7044721" cy="4025912"/>
            <a:chOff x="3200953" y="1759824"/>
            <a:chExt cx="7044721" cy="4025912"/>
          </a:xfrm>
        </p:grpSpPr>
        <p:pic>
          <p:nvPicPr>
            <p:cNvPr id="54" name="Picture 53">
              <a:extLst>
                <a:ext uri="{FF2B5EF4-FFF2-40B4-BE49-F238E27FC236}">
                  <a16:creationId xmlns:a16="http://schemas.microsoft.com/office/drawing/2014/main" id="{7364787E-8FD3-4011-A7A1-8DA6B2A82917}"/>
                </a:ext>
              </a:extLst>
            </p:cNvPr>
            <p:cNvPicPr>
              <a:picLocks noChangeAspect="1"/>
            </p:cNvPicPr>
            <p:nvPr/>
          </p:nvPicPr>
          <p:blipFill>
            <a:blip r:embed="rId11"/>
            <a:stretch>
              <a:fillRect/>
            </a:stretch>
          </p:blipFill>
          <p:spPr>
            <a:xfrm>
              <a:off x="3200953" y="2413415"/>
              <a:ext cx="7044721" cy="3372321"/>
            </a:xfrm>
            <a:prstGeom prst="rect">
              <a:avLst/>
            </a:prstGeom>
          </p:spPr>
        </p:pic>
        <p:sp>
          <p:nvSpPr>
            <p:cNvPr id="22" name="TextBox 21">
              <a:extLst>
                <a:ext uri="{FF2B5EF4-FFF2-40B4-BE49-F238E27FC236}">
                  <a16:creationId xmlns:a16="http://schemas.microsoft.com/office/drawing/2014/main" id="{0E152F40-6C6A-4686-B120-808662D89AF0}"/>
                </a:ext>
              </a:extLst>
            </p:cNvPr>
            <p:cNvSpPr txBox="1"/>
            <p:nvPr/>
          </p:nvSpPr>
          <p:spPr>
            <a:xfrm>
              <a:off x="5289829" y="1759824"/>
              <a:ext cx="1989667" cy="1238801"/>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Dynamic Quote Rendering</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Need to provide your finance team with a PDF quote in order to get internal approval? Check out the attachments section</a:t>
              </a:r>
            </a:p>
          </p:txBody>
        </p:sp>
      </p:grpSp>
      <p:sp>
        <p:nvSpPr>
          <p:cNvPr id="23" name="Flowchart: Off-page Connector 22">
            <a:extLst>
              <a:ext uri="{FF2B5EF4-FFF2-40B4-BE49-F238E27FC236}">
                <a16:creationId xmlns:a16="http://schemas.microsoft.com/office/drawing/2014/main" id="{7BF30644-4845-4D40-AB9A-F81C29DA4576}"/>
              </a:ext>
            </a:extLst>
          </p:cNvPr>
          <p:cNvSpPr/>
          <p:nvPr/>
        </p:nvSpPr>
        <p:spPr>
          <a:xfrm>
            <a:off x="4957710" y="2488783"/>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3</a:t>
            </a:r>
          </a:p>
        </p:txBody>
      </p:sp>
      <p:sp>
        <p:nvSpPr>
          <p:cNvPr id="15" name="Flowchart: Off-page Connector 14">
            <a:extLst>
              <a:ext uri="{FF2B5EF4-FFF2-40B4-BE49-F238E27FC236}">
                <a16:creationId xmlns:a16="http://schemas.microsoft.com/office/drawing/2014/main" id="{EC35D761-5253-4AE1-9588-2038578A97EC}"/>
              </a:ext>
            </a:extLst>
          </p:cNvPr>
          <p:cNvSpPr/>
          <p:nvPr/>
        </p:nvSpPr>
        <p:spPr>
          <a:xfrm>
            <a:off x="3290643" y="3682103"/>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1</a:t>
            </a:r>
          </a:p>
        </p:txBody>
      </p:sp>
      <p:sp>
        <p:nvSpPr>
          <p:cNvPr id="14" name="TextBox 13">
            <a:extLst>
              <a:ext uri="{FF2B5EF4-FFF2-40B4-BE49-F238E27FC236}">
                <a16:creationId xmlns:a16="http://schemas.microsoft.com/office/drawing/2014/main" id="{72CBAC3D-CE0E-409C-B3C1-CD2D6D345658}"/>
              </a:ext>
            </a:extLst>
          </p:cNvPr>
          <p:cNvSpPr txBox="1"/>
          <p:nvPr/>
        </p:nvSpPr>
        <p:spPr>
          <a:xfrm>
            <a:off x="1783684" y="4011379"/>
            <a:ext cx="1989667" cy="907941"/>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Product Order Listing</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dd multiple paths to a single Sales Order (quote) using naming which is meaningful to you and your customers</a:t>
            </a:r>
          </a:p>
        </p:txBody>
      </p:sp>
      <p:sp>
        <p:nvSpPr>
          <p:cNvPr id="16" name="TextBox 15">
            <a:extLst>
              <a:ext uri="{FF2B5EF4-FFF2-40B4-BE49-F238E27FC236}">
                <a16:creationId xmlns:a16="http://schemas.microsoft.com/office/drawing/2014/main" id="{5D4EC632-D5E1-4510-9B3D-1389446E20E4}"/>
              </a:ext>
            </a:extLst>
          </p:cNvPr>
          <p:cNvSpPr txBox="1"/>
          <p:nvPr/>
        </p:nvSpPr>
        <p:spPr>
          <a:xfrm>
            <a:off x="8905070" y="2002834"/>
            <a:ext cx="1989667" cy="915635"/>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Total Sales Order Charge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ee the total costs (once-off, recurring &amp; total contract value) in one location</a:t>
            </a:r>
          </a:p>
        </p:txBody>
      </p:sp>
      <p:sp>
        <p:nvSpPr>
          <p:cNvPr id="18" name="TextBox 17">
            <a:extLst>
              <a:ext uri="{FF2B5EF4-FFF2-40B4-BE49-F238E27FC236}">
                <a16:creationId xmlns:a16="http://schemas.microsoft.com/office/drawing/2014/main" id="{D71A247B-D9DC-47DD-B14E-FB596EE16E8E}"/>
              </a:ext>
            </a:extLst>
          </p:cNvPr>
          <p:cNvSpPr txBox="1"/>
          <p:nvPr/>
        </p:nvSpPr>
        <p:spPr>
          <a:xfrm>
            <a:off x="7135263" y="2537596"/>
            <a:ext cx="1989667" cy="171585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Quote Submission</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sure if your Sales Order is correct, or you’ve requested a custom path? Push the order for FibreconX to review and we will receive a notification. </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Happy with your order and want to see live provisioning of dark fibre services, hit ‘Submit Order’</a:t>
            </a:r>
          </a:p>
        </p:txBody>
      </p:sp>
      <p:sp>
        <p:nvSpPr>
          <p:cNvPr id="19" name="Flowchart: Off-page Connector 18">
            <a:extLst>
              <a:ext uri="{FF2B5EF4-FFF2-40B4-BE49-F238E27FC236}">
                <a16:creationId xmlns:a16="http://schemas.microsoft.com/office/drawing/2014/main" id="{CFAFC49E-D7D9-4D17-ADEC-AEBA8E7F1545}"/>
              </a:ext>
            </a:extLst>
          </p:cNvPr>
          <p:cNvSpPr/>
          <p:nvPr/>
        </p:nvSpPr>
        <p:spPr>
          <a:xfrm>
            <a:off x="8539482" y="2228868"/>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4</a:t>
            </a:r>
          </a:p>
        </p:txBody>
      </p:sp>
    </p:spTree>
    <p:extLst>
      <p:ext uri="{BB962C8B-B14F-4D97-AF65-F5344CB8AC3E}">
        <p14:creationId xmlns:p14="http://schemas.microsoft.com/office/powerpoint/2010/main" val="32672932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5"/>
                    </p:tgtEl>
                  </p:cond>
                </p:stCondLst>
                <p:endSync evt="end" delay="0">
                  <p:rtn val="all"/>
                </p:endSync>
                <p:childTnLst>
                  <p:par>
                    <p:cTn id="3" fill="hold">
                      <p:stCondLst>
                        <p:cond delay="0"/>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14"/>
                                        </p:tgtEl>
                                      </p:cBhvr>
                                    </p:animEffect>
                                    <p:set>
                                      <p:cBhvr>
                                        <p:cTn id="12" dur="1" fill="hold">
                                          <p:stCondLst>
                                            <p:cond delay="499"/>
                                          </p:stCondLst>
                                        </p:cTn>
                                        <p:tgtEl>
                                          <p:spTgt spid="14"/>
                                        </p:tgtEl>
                                        <p:attrNameLst>
                                          <p:attrName>style.visibility</p:attrName>
                                        </p:attrNameLst>
                                      </p:cBhvr>
                                      <p:to>
                                        <p:strVal val="hidden"/>
                                      </p:to>
                                    </p:set>
                                  </p:childTnLst>
                                </p:cTn>
                              </p:par>
                            </p:childTnLst>
                          </p:cTn>
                        </p:par>
                      </p:childTnLst>
                    </p:cTn>
                  </p:par>
                </p:childTnLst>
              </p:cTn>
              <p:nextCondLst>
                <p:cond evt="onClick" delay="0">
                  <p:tgtEl>
                    <p:spTgt spid="15"/>
                  </p:tgtEl>
                </p:cond>
              </p:nextCondLst>
            </p:seq>
            <p:seq concurrent="1" nextAc="seek">
              <p:cTn id="13" restart="whenNotActive" fill="hold" evtFilter="cancelBubble" nodeType="interactiveSeq">
                <p:stCondLst>
                  <p:cond evt="onClick" delay="0">
                    <p:tgtEl>
                      <p:spTgt spid="17"/>
                    </p:tgtEl>
                  </p:cond>
                </p:stCondLst>
                <p:endSync evt="end" delay="0">
                  <p:rtn val="all"/>
                </p:endSync>
                <p:childTnLst>
                  <p:par>
                    <p:cTn id="14" fill="hold">
                      <p:stCondLst>
                        <p:cond delay="0"/>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16"/>
                                        </p:tgtEl>
                                      </p:cBhvr>
                                    </p:animEffect>
                                    <p:set>
                                      <p:cBhvr>
                                        <p:cTn id="23" dur="1" fill="hold">
                                          <p:stCondLst>
                                            <p:cond delay="499"/>
                                          </p:stCondLst>
                                        </p:cTn>
                                        <p:tgtEl>
                                          <p:spTgt spid="16"/>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24" restart="whenNotActive" fill="hold" evtFilter="cancelBubble" nodeType="interactiveSeq">
                <p:stCondLst>
                  <p:cond evt="onClick" delay="0">
                    <p:tgtEl>
                      <p:spTgt spid="19"/>
                    </p:tgtEl>
                  </p:cond>
                </p:stCondLst>
                <p:endSync evt="end" delay="0">
                  <p:rtn val="all"/>
                </p:endSync>
                <p:childTnLst>
                  <p:par>
                    <p:cTn id="25" fill="hold">
                      <p:stCondLst>
                        <p:cond delay="0"/>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grpId="1" nodeType="clickEffect">
                                  <p:stCondLst>
                                    <p:cond delay="0"/>
                                  </p:stCondLst>
                                  <p:childTnLst>
                                    <p:animEffect transition="out" filter="fade">
                                      <p:cBhvr>
                                        <p:cTn id="33" dur="500"/>
                                        <p:tgtEl>
                                          <p:spTgt spid="18"/>
                                        </p:tgtEl>
                                      </p:cBhvr>
                                    </p:animEffect>
                                    <p:set>
                                      <p:cBhvr>
                                        <p:cTn id="34" dur="1" fill="hold">
                                          <p:stCondLst>
                                            <p:cond delay="499"/>
                                          </p:stCondLst>
                                        </p:cTn>
                                        <p:tgtEl>
                                          <p:spTgt spid="18"/>
                                        </p:tgtEl>
                                        <p:attrNameLst>
                                          <p:attrName>style.visibility</p:attrName>
                                        </p:attrNameLst>
                                      </p:cBhvr>
                                      <p:to>
                                        <p:strVal val="hidden"/>
                                      </p:to>
                                    </p:set>
                                  </p:childTnLst>
                                </p:cTn>
                              </p:par>
                            </p:childTnLst>
                          </p:cTn>
                        </p:par>
                      </p:childTnLst>
                    </p:cTn>
                  </p:par>
                </p:childTnLst>
              </p:cTn>
              <p:nextCondLst>
                <p:cond evt="onClick" delay="0">
                  <p:tgtEl>
                    <p:spTgt spid="19"/>
                  </p:tgtEl>
                </p:cond>
              </p:nextCondLst>
            </p:seq>
            <p:seq concurrent="1" nextAc="seek">
              <p:cTn id="35" restart="whenNotActive" fill="hold" evtFilter="cancelBubble" nodeType="interactiveSeq">
                <p:stCondLst>
                  <p:cond evt="onClick" delay="0">
                    <p:tgtEl>
                      <p:spTgt spid="23"/>
                    </p:tgtEl>
                  </p:cond>
                </p:stCondLst>
                <p:endSync evt="end" delay="0">
                  <p:rtn val="all"/>
                </p:endSync>
                <p:childTnLst>
                  <p:par>
                    <p:cTn id="36" fill="hold">
                      <p:stCondLst>
                        <p:cond delay="0"/>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nodeType="clickEffect">
                                  <p:stCondLst>
                                    <p:cond delay="0"/>
                                  </p:stCondLst>
                                  <p:childTnLst>
                                    <p:animEffect transition="out" filter="fade">
                                      <p:cBhvr>
                                        <p:cTn id="44" dur="500"/>
                                        <p:tgtEl>
                                          <p:spTgt spid="10"/>
                                        </p:tgtEl>
                                      </p:cBhvr>
                                    </p:animEffect>
                                    <p:set>
                                      <p:cBhvr>
                                        <p:cTn id="45" dur="1" fill="hold">
                                          <p:stCondLst>
                                            <p:cond delay="499"/>
                                          </p:stCondLst>
                                        </p:cTn>
                                        <p:tgtEl>
                                          <p:spTgt spid="10"/>
                                        </p:tgtEl>
                                        <p:attrNameLst>
                                          <p:attrName>style.visibility</p:attrName>
                                        </p:attrNameLst>
                                      </p:cBhvr>
                                      <p:to>
                                        <p:strVal val="hidden"/>
                                      </p:to>
                                    </p:set>
                                  </p:childTnLst>
                                </p:cTn>
                              </p:par>
                            </p:childTnLst>
                          </p:cTn>
                        </p:par>
                      </p:childTnLst>
                    </p:cTn>
                  </p:par>
                </p:childTnLst>
              </p:cTn>
              <p:nextCondLst>
                <p:cond evt="onClick" delay="0">
                  <p:tgtEl>
                    <p:spTgt spid="23"/>
                  </p:tgtEl>
                </p:cond>
              </p:nextCondLst>
            </p:seq>
          </p:childTnLst>
        </p:cTn>
      </p:par>
    </p:tnLst>
    <p:bldLst>
      <p:bldP spid="14" grpId="0" animBg="1"/>
      <p:bldP spid="14" grpId="1" animBg="1"/>
      <p:bldP spid="16" grpId="0" animBg="1"/>
      <p:bldP spid="16" grpId="1" animBg="1"/>
      <p:bldP spid="18" grpId="0" animBg="1"/>
      <p:bldP spid="18"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63">
            <a:extLst>
              <a:ext uri="{FF2B5EF4-FFF2-40B4-BE49-F238E27FC236}">
                <a16:creationId xmlns:a16="http://schemas.microsoft.com/office/drawing/2014/main" id="{C85C23FB-4AEE-4021-B6D4-613EA14B7963}"/>
              </a:ext>
            </a:extLst>
          </p:cNvPr>
          <p:cNvPicPr>
            <a:picLocks noChangeAspect="1"/>
          </p:cNvPicPr>
          <p:nvPr/>
        </p:nvPicPr>
        <p:blipFill>
          <a:blip r:embed="rId3"/>
          <a:stretch>
            <a:fillRect/>
          </a:stretch>
        </p:blipFill>
        <p:spPr>
          <a:xfrm>
            <a:off x="2323872" y="1060008"/>
            <a:ext cx="7314286" cy="5714286"/>
          </a:xfrm>
          <a:prstGeom prst="rect">
            <a:avLst/>
          </a:prstGeom>
        </p:spPr>
      </p:pic>
      <p:sp>
        <p:nvSpPr>
          <p:cNvPr id="17" name="Flowchart: Off-page Connector 16">
            <a:extLst>
              <a:ext uri="{FF2B5EF4-FFF2-40B4-BE49-F238E27FC236}">
                <a16:creationId xmlns:a16="http://schemas.microsoft.com/office/drawing/2014/main" id="{CA23A68F-6E8A-433A-86C4-0E31B220BD9B}"/>
              </a:ext>
            </a:extLst>
          </p:cNvPr>
          <p:cNvSpPr/>
          <p:nvPr/>
        </p:nvSpPr>
        <p:spPr>
          <a:xfrm>
            <a:off x="4148559" y="2863955"/>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2</a:t>
            </a:r>
          </a:p>
        </p:txBody>
      </p:sp>
      <p:sp>
        <p:nvSpPr>
          <p:cNvPr id="21" name="Flowchart: Off-page Connector 20">
            <a:extLst>
              <a:ext uri="{FF2B5EF4-FFF2-40B4-BE49-F238E27FC236}">
                <a16:creationId xmlns:a16="http://schemas.microsoft.com/office/drawing/2014/main" id="{55FF5727-5AF4-4697-930B-86126BD0C6B7}"/>
              </a:ext>
            </a:extLst>
          </p:cNvPr>
          <p:cNvSpPr/>
          <p:nvPr/>
        </p:nvSpPr>
        <p:spPr>
          <a:xfrm>
            <a:off x="7861682" y="5177033"/>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4</a:t>
            </a:r>
          </a:p>
        </p:txBody>
      </p:sp>
      <p:sp>
        <p:nvSpPr>
          <p:cNvPr id="19" name="Flowchart: Off-page Connector 18">
            <a:extLst>
              <a:ext uri="{FF2B5EF4-FFF2-40B4-BE49-F238E27FC236}">
                <a16:creationId xmlns:a16="http://schemas.microsoft.com/office/drawing/2014/main" id="{5A5A4F76-C14E-45C4-85DB-BF2A34C47223}"/>
              </a:ext>
            </a:extLst>
          </p:cNvPr>
          <p:cNvSpPr/>
          <p:nvPr/>
        </p:nvSpPr>
        <p:spPr>
          <a:xfrm>
            <a:off x="6275118" y="4235734"/>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3</a:t>
            </a:r>
          </a:p>
        </p:txBody>
      </p:sp>
      <p:sp>
        <p:nvSpPr>
          <p:cNvPr id="23" name="Flowchart: Off-page Connector 22">
            <a:extLst>
              <a:ext uri="{FF2B5EF4-FFF2-40B4-BE49-F238E27FC236}">
                <a16:creationId xmlns:a16="http://schemas.microsoft.com/office/drawing/2014/main" id="{A1D1AF60-F634-4595-87AC-EFFFCFE8802A}"/>
              </a:ext>
            </a:extLst>
          </p:cNvPr>
          <p:cNvSpPr/>
          <p:nvPr/>
        </p:nvSpPr>
        <p:spPr>
          <a:xfrm>
            <a:off x="6138225" y="2352449"/>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6</a:t>
            </a:r>
          </a:p>
        </p:txBody>
      </p:sp>
      <p:grpSp>
        <p:nvGrpSpPr>
          <p:cNvPr id="48" name="Group 47">
            <a:extLst>
              <a:ext uri="{FF2B5EF4-FFF2-40B4-BE49-F238E27FC236}">
                <a16:creationId xmlns:a16="http://schemas.microsoft.com/office/drawing/2014/main" id="{94AEFEEF-60B4-40EE-9A72-6FF84DBABE5A}"/>
              </a:ext>
            </a:extLst>
          </p:cNvPr>
          <p:cNvGrpSpPr/>
          <p:nvPr/>
        </p:nvGrpSpPr>
        <p:grpSpPr>
          <a:xfrm>
            <a:off x="5825584" y="1100696"/>
            <a:ext cx="3367631" cy="907941"/>
            <a:chOff x="5825584" y="1100696"/>
            <a:chExt cx="3367631" cy="907941"/>
          </a:xfrm>
        </p:grpSpPr>
        <p:pic>
          <p:nvPicPr>
            <p:cNvPr id="6" name="Picture 5">
              <a:extLst>
                <a:ext uri="{FF2B5EF4-FFF2-40B4-BE49-F238E27FC236}">
                  <a16:creationId xmlns:a16="http://schemas.microsoft.com/office/drawing/2014/main" id="{41EA724E-0153-4064-9CF4-F16974FAB5EB}"/>
                </a:ext>
              </a:extLst>
            </p:cNvPr>
            <p:cNvPicPr>
              <a:picLocks noChangeAspect="1"/>
            </p:cNvPicPr>
            <p:nvPr/>
          </p:nvPicPr>
          <p:blipFill>
            <a:blip r:embed="rId4"/>
            <a:stretch>
              <a:fillRect/>
            </a:stretch>
          </p:blipFill>
          <p:spPr>
            <a:xfrm>
              <a:off x="8111175" y="1408276"/>
              <a:ext cx="1082040" cy="537210"/>
            </a:xfrm>
            <a:prstGeom prst="rect">
              <a:avLst/>
            </a:prstGeom>
          </p:spPr>
        </p:pic>
        <p:sp>
          <p:nvSpPr>
            <p:cNvPr id="26" name="TextBox 25">
              <a:extLst>
                <a:ext uri="{FF2B5EF4-FFF2-40B4-BE49-F238E27FC236}">
                  <a16:creationId xmlns:a16="http://schemas.microsoft.com/office/drawing/2014/main" id="{56F1830C-76CB-445D-9E71-D375DB669A07}"/>
                </a:ext>
              </a:extLst>
            </p:cNvPr>
            <p:cNvSpPr txBox="1"/>
            <p:nvPr/>
          </p:nvSpPr>
          <p:spPr>
            <a:xfrm>
              <a:off x="5825584" y="1100696"/>
              <a:ext cx="2199907" cy="907941"/>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err="1">
                  <a:solidFill>
                    <a:schemeClr val="tx1"/>
                  </a:solidFill>
                  <a:latin typeface="Montserrat" panose="00000500000000000000" pitchFamily="2" charset="0"/>
                  <a:ea typeface="Open Sans Light" panose="020B0306030504020204" pitchFamily="34" charset="0"/>
                  <a:cs typeface="Open Sans Light" panose="020B0306030504020204" pitchFamily="34" charset="0"/>
                </a:rPr>
                <a:t>InventoryActions</a:t>
              </a:r>
              <a:endPar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endParaRP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aise a service incident, extend your contract, or terminate your service, all in the context of the service you are viewing</a:t>
              </a:r>
            </a:p>
          </p:txBody>
        </p:sp>
      </p:grpSp>
      <p:grpSp>
        <p:nvGrpSpPr>
          <p:cNvPr id="47" name="Group 46">
            <a:extLst>
              <a:ext uri="{FF2B5EF4-FFF2-40B4-BE49-F238E27FC236}">
                <a16:creationId xmlns:a16="http://schemas.microsoft.com/office/drawing/2014/main" id="{4CF18DEF-3FEC-4824-B3B8-6D340AC3656F}"/>
              </a:ext>
            </a:extLst>
          </p:cNvPr>
          <p:cNvGrpSpPr/>
          <p:nvPr/>
        </p:nvGrpSpPr>
        <p:grpSpPr>
          <a:xfrm>
            <a:off x="3710114" y="1335211"/>
            <a:ext cx="3367940" cy="1600369"/>
            <a:chOff x="3710114" y="1335211"/>
            <a:chExt cx="3367940" cy="1600369"/>
          </a:xfrm>
        </p:grpSpPr>
        <p:pic>
          <p:nvPicPr>
            <p:cNvPr id="39" name="Picture 38">
              <a:extLst>
                <a:ext uri="{FF2B5EF4-FFF2-40B4-BE49-F238E27FC236}">
                  <a16:creationId xmlns:a16="http://schemas.microsoft.com/office/drawing/2014/main" id="{05EAA853-220B-48CF-9B00-DE4C6B20458E}"/>
                </a:ext>
              </a:extLst>
            </p:cNvPr>
            <p:cNvPicPr>
              <a:picLocks noChangeAspect="1"/>
            </p:cNvPicPr>
            <p:nvPr/>
          </p:nvPicPr>
          <p:blipFill>
            <a:blip r:embed="rId5"/>
            <a:stretch>
              <a:fillRect/>
            </a:stretch>
          </p:blipFill>
          <p:spPr>
            <a:xfrm>
              <a:off x="3710114" y="1335211"/>
              <a:ext cx="2030730" cy="403860"/>
            </a:xfrm>
            <a:prstGeom prst="rect">
              <a:avLst/>
            </a:prstGeom>
          </p:spPr>
        </p:pic>
        <p:sp>
          <p:nvSpPr>
            <p:cNvPr id="41" name="TextBox 40">
              <a:extLst>
                <a:ext uri="{FF2B5EF4-FFF2-40B4-BE49-F238E27FC236}">
                  <a16:creationId xmlns:a16="http://schemas.microsoft.com/office/drawing/2014/main" id="{C92920D9-20CC-464A-B6EE-3103AAE56E6C}"/>
                </a:ext>
              </a:extLst>
            </p:cNvPr>
            <p:cNvSpPr txBox="1"/>
            <p:nvPr/>
          </p:nvSpPr>
          <p:spPr>
            <a:xfrm>
              <a:off x="4878147" y="1704474"/>
              <a:ext cx="2199907" cy="1231106"/>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Control Service Reference</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Name your service according to your naming convention. While FibreconX has our own Service ID, you can associate your own naming to simplify your operations.</a:t>
              </a:r>
            </a:p>
          </p:txBody>
        </p:sp>
      </p:grpSp>
      <p:sp>
        <p:nvSpPr>
          <p:cNvPr id="4" name="Rectangle: Rounded Corners 3">
            <a:extLst>
              <a:ext uri="{FF2B5EF4-FFF2-40B4-BE49-F238E27FC236}">
                <a16:creationId xmlns:a16="http://schemas.microsoft.com/office/drawing/2014/main" id="{D4D3B926-62B5-4B40-A8FA-52E8A0176B75}"/>
              </a:ext>
            </a:extLst>
          </p:cNvPr>
          <p:cNvSpPr/>
          <p:nvPr/>
        </p:nvSpPr>
        <p:spPr>
          <a:xfrm>
            <a:off x="2641600" y="307097"/>
            <a:ext cx="1989666" cy="618066"/>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bg1"/>
                </a:solidFill>
              </a:rPr>
              <a:t>Service Inventory</a:t>
            </a:r>
          </a:p>
        </p:txBody>
      </p:sp>
      <p:sp>
        <p:nvSpPr>
          <p:cNvPr id="13" name="Rectangle: Rounded Corners 12">
            <a:hlinkClick r:id="rId6" action="ppaction://hlinksldjump"/>
            <a:extLst>
              <a:ext uri="{FF2B5EF4-FFF2-40B4-BE49-F238E27FC236}">
                <a16:creationId xmlns:a16="http://schemas.microsoft.com/office/drawing/2014/main" id="{7666FE79-0708-4577-8E34-4FC3E259DA2F}"/>
              </a:ext>
            </a:extLst>
          </p:cNvPr>
          <p:cNvSpPr/>
          <p:nvPr/>
        </p:nvSpPr>
        <p:spPr>
          <a:xfrm>
            <a:off x="49784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Raising Service Incidents &amp; Enquiries</a:t>
            </a:r>
          </a:p>
        </p:txBody>
      </p:sp>
      <p:sp>
        <p:nvSpPr>
          <p:cNvPr id="14" name="Rectangle: Rounded Corners 13">
            <a:hlinkClick r:id="rId7" action="ppaction://hlinksldjump"/>
            <a:extLst>
              <a:ext uri="{FF2B5EF4-FFF2-40B4-BE49-F238E27FC236}">
                <a16:creationId xmlns:a16="http://schemas.microsoft.com/office/drawing/2014/main" id="{995BE020-AC97-4F9E-9207-2395273A6138}"/>
              </a:ext>
            </a:extLst>
          </p:cNvPr>
          <p:cNvSpPr/>
          <p:nvPr/>
        </p:nvSpPr>
        <p:spPr>
          <a:xfrm>
            <a:off x="73152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Invoicing &amp; Payments</a:t>
            </a:r>
          </a:p>
        </p:txBody>
      </p:sp>
      <p:sp>
        <p:nvSpPr>
          <p:cNvPr id="15" name="Rectangle: Rounded Corners 14">
            <a:hlinkClick r:id="rId8" action="ppaction://hlinksldjump"/>
            <a:extLst>
              <a:ext uri="{FF2B5EF4-FFF2-40B4-BE49-F238E27FC236}">
                <a16:creationId xmlns:a16="http://schemas.microsoft.com/office/drawing/2014/main" id="{51D89E0E-C072-44EC-9F65-D150886C1058}"/>
              </a:ext>
            </a:extLst>
          </p:cNvPr>
          <p:cNvSpPr/>
          <p:nvPr/>
        </p:nvSpPr>
        <p:spPr>
          <a:xfrm>
            <a:off x="96520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User Administration</a:t>
            </a:r>
          </a:p>
        </p:txBody>
      </p:sp>
      <p:sp>
        <p:nvSpPr>
          <p:cNvPr id="16" name="Rectangle: Rounded Corners 15">
            <a:hlinkClick r:id="rId9" action="ppaction://hlinksldjump"/>
            <a:extLst>
              <a:ext uri="{FF2B5EF4-FFF2-40B4-BE49-F238E27FC236}">
                <a16:creationId xmlns:a16="http://schemas.microsoft.com/office/drawing/2014/main" id="{2AFBC224-F596-4C69-A87F-E567A6F3B1A2}"/>
              </a:ext>
            </a:extLst>
          </p:cNvPr>
          <p:cNvSpPr/>
          <p:nvPr/>
        </p:nvSpPr>
        <p:spPr>
          <a:xfrm>
            <a:off x="3048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Qualification, Quoting &amp; Ordering</a:t>
            </a:r>
          </a:p>
        </p:txBody>
      </p:sp>
      <p:sp>
        <p:nvSpPr>
          <p:cNvPr id="18" name="TextBox 17">
            <a:extLst>
              <a:ext uri="{FF2B5EF4-FFF2-40B4-BE49-F238E27FC236}">
                <a16:creationId xmlns:a16="http://schemas.microsoft.com/office/drawing/2014/main" id="{E253424D-6D95-421F-B447-0A247D24F60D}"/>
              </a:ext>
            </a:extLst>
          </p:cNvPr>
          <p:cNvSpPr txBox="1"/>
          <p:nvPr/>
        </p:nvSpPr>
        <p:spPr>
          <a:xfrm>
            <a:off x="2641600" y="3193231"/>
            <a:ext cx="2199907" cy="1231106"/>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Product Order Listing</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ee all the important details relating to your service</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Service ID</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Two sites it is connecting</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Exact fibre distance</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Actual attenuation (@1550nm)</a:t>
            </a:r>
          </a:p>
        </p:txBody>
      </p:sp>
      <p:sp>
        <p:nvSpPr>
          <p:cNvPr id="20" name="TextBox 19">
            <a:extLst>
              <a:ext uri="{FF2B5EF4-FFF2-40B4-BE49-F238E27FC236}">
                <a16:creationId xmlns:a16="http://schemas.microsoft.com/office/drawing/2014/main" id="{66B887F7-7103-4AA5-998C-F20532BD980A}"/>
              </a:ext>
            </a:extLst>
          </p:cNvPr>
          <p:cNvSpPr txBox="1"/>
          <p:nvPr/>
        </p:nvSpPr>
        <p:spPr>
          <a:xfrm>
            <a:off x="4768159" y="4565010"/>
            <a:ext cx="2199907" cy="1231106"/>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Demarcation Detail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mmediately receive the demarcation details for services delivered to data centre, allowing you to order your cross connects in a language the facility operator understands</a:t>
            </a:r>
          </a:p>
        </p:txBody>
      </p:sp>
      <p:sp>
        <p:nvSpPr>
          <p:cNvPr id="22" name="TextBox 21">
            <a:extLst>
              <a:ext uri="{FF2B5EF4-FFF2-40B4-BE49-F238E27FC236}">
                <a16:creationId xmlns:a16="http://schemas.microsoft.com/office/drawing/2014/main" id="{698CA1AE-8C20-420C-B424-F2983D5F5488}"/>
              </a:ext>
            </a:extLst>
          </p:cNvPr>
          <p:cNvSpPr txBox="1"/>
          <p:nvPr/>
        </p:nvSpPr>
        <p:spPr>
          <a:xfrm>
            <a:off x="6354723" y="5506309"/>
            <a:ext cx="2199907" cy="106952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Path Detail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ee the path your service takes along the FibreconX conduit network, and download the KML (guaranteed same path that you saw during the ordering process)</a:t>
            </a:r>
          </a:p>
        </p:txBody>
      </p:sp>
      <p:sp>
        <p:nvSpPr>
          <p:cNvPr id="24" name="TextBox 23">
            <a:extLst>
              <a:ext uri="{FF2B5EF4-FFF2-40B4-BE49-F238E27FC236}">
                <a16:creationId xmlns:a16="http://schemas.microsoft.com/office/drawing/2014/main" id="{021A617E-0CAA-4ABA-A5A0-0F0D9475CAD9}"/>
              </a:ext>
            </a:extLst>
          </p:cNvPr>
          <p:cNvSpPr txBox="1"/>
          <p:nvPr/>
        </p:nvSpPr>
        <p:spPr>
          <a:xfrm>
            <a:off x="4631266" y="2681725"/>
            <a:ext cx="2199907" cy="1392689"/>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Contract Detail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ee when your current contract starts &amp; ends, noting FibreconX delays billing for the service for three business days while your cross connects are delivered. </a:t>
            </a:r>
            <a:r>
              <a:rPr lang="en-AU" sz="1050" i="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Note: Historical contracts are visible in the ‘Activities’ tab</a:t>
            </a:r>
          </a:p>
        </p:txBody>
      </p:sp>
      <p:sp>
        <p:nvSpPr>
          <p:cNvPr id="40" name="Flowchart: Off-page Connector 39">
            <a:extLst>
              <a:ext uri="{FF2B5EF4-FFF2-40B4-BE49-F238E27FC236}">
                <a16:creationId xmlns:a16="http://schemas.microsoft.com/office/drawing/2014/main" id="{99660AB0-DDFE-4B9A-B73B-068BD9A13FA6}"/>
              </a:ext>
            </a:extLst>
          </p:cNvPr>
          <p:cNvSpPr/>
          <p:nvPr/>
        </p:nvSpPr>
        <p:spPr>
          <a:xfrm>
            <a:off x="5073571" y="1392461"/>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1</a:t>
            </a:r>
          </a:p>
        </p:txBody>
      </p:sp>
      <p:sp>
        <p:nvSpPr>
          <p:cNvPr id="25" name="Flowchart: Off-page Connector 24">
            <a:extLst>
              <a:ext uri="{FF2B5EF4-FFF2-40B4-BE49-F238E27FC236}">
                <a16:creationId xmlns:a16="http://schemas.microsoft.com/office/drawing/2014/main" id="{C429BA32-D4B8-4848-8568-B929C1B8162F}"/>
              </a:ext>
            </a:extLst>
          </p:cNvPr>
          <p:cNvSpPr/>
          <p:nvPr/>
        </p:nvSpPr>
        <p:spPr>
          <a:xfrm>
            <a:off x="8141522" y="1392461"/>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7</a:t>
            </a:r>
          </a:p>
        </p:txBody>
      </p:sp>
      <p:grpSp>
        <p:nvGrpSpPr>
          <p:cNvPr id="8" name="Group 7">
            <a:extLst>
              <a:ext uri="{FF2B5EF4-FFF2-40B4-BE49-F238E27FC236}">
                <a16:creationId xmlns:a16="http://schemas.microsoft.com/office/drawing/2014/main" id="{0D649B21-BDB4-4D5C-9AC2-54DAB91197AC}"/>
              </a:ext>
            </a:extLst>
          </p:cNvPr>
          <p:cNvGrpSpPr/>
          <p:nvPr/>
        </p:nvGrpSpPr>
        <p:grpSpPr>
          <a:xfrm>
            <a:off x="1593936" y="1060008"/>
            <a:ext cx="8044124" cy="5714286"/>
            <a:chOff x="1593936" y="1060008"/>
            <a:chExt cx="8044124" cy="5714286"/>
          </a:xfrm>
        </p:grpSpPr>
        <p:pic>
          <p:nvPicPr>
            <p:cNvPr id="60" name="Picture 59">
              <a:extLst>
                <a:ext uri="{FF2B5EF4-FFF2-40B4-BE49-F238E27FC236}">
                  <a16:creationId xmlns:a16="http://schemas.microsoft.com/office/drawing/2014/main" id="{533AF015-1A3A-4C3D-A342-BA8EE2423AD8}"/>
                </a:ext>
              </a:extLst>
            </p:cNvPr>
            <p:cNvPicPr>
              <a:picLocks noChangeAspect="1"/>
            </p:cNvPicPr>
            <p:nvPr/>
          </p:nvPicPr>
          <p:blipFill>
            <a:blip r:embed="rId10"/>
            <a:stretch>
              <a:fillRect/>
            </a:stretch>
          </p:blipFill>
          <p:spPr>
            <a:xfrm>
              <a:off x="2323774" y="1060008"/>
              <a:ext cx="7314286" cy="5714286"/>
            </a:xfrm>
            <a:prstGeom prst="rect">
              <a:avLst/>
            </a:prstGeom>
          </p:spPr>
        </p:pic>
        <p:sp>
          <p:nvSpPr>
            <p:cNvPr id="28" name="TextBox 27">
              <a:extLst>
                <a:ext uri="{FF2B5EF4-FFF2-40B4-BE49-F238E27FC236}">
                  <a16:creationId xmlns:a16="http://schemas.microsoft.com/office/drawing/2014/main" id="{142F5C89-772E-468C-B05A-E0E5B4458550}"/>
                </a:ext>
              </a:extLst>
            </p:cNvPr>
            <p:cNvSpPr txBox="1"/>
            <p:nvPr/>
          </p:nvSpPr>
          <p:spPr>
            <a:xfrm>
              <a:off x="1593936" y="1723163"/>
              <a:ext cx="2199907" cy="1400383"/>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Commissioning Test Result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ee the commissioning test results for your service immediately. This provides both you and FibreconX with a baseline to allow troubleshooting later.</a:t>
              </a:r>
            </a:p>
          </p:txBody>
        </p:sp>
      </p:grpSp>
      <p:sp>
        <p:nvSpPr>
          <p:cNvPr id="27" name="Flowchart: Off-page Connector 26">
            <a:extLst>
              <a:ext uri="{FF2B5EF4-FFF2-40B4-BE49-F238E27FC236}">
                <a16:creationId xmlns:a16="http://schemas.microsoft.com/office/drawing/2014/main" id="{00AF38C7-C39F-4AC8-8988-20E8BE205965}"/>
              </a:ext>
            </a:extLst>
          </p:cNvPr>
          <p:cNvSpPr/>
          <p:nvPr/>
        </p:nvSpPr>
        <p:spPr>
          <a:xfrm>
            <a:off x="4555564" y="2084238"/>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5</a:t>
            </a:r>
          </a:p>
        </p:txBody>
      </p:sp>
    </p:spTree>
    <p:extLst>
      <p:ext uri="{BB962C8B-B14F-4D97-AF65-F5344CB8AC3E}">
        <p14:creationId xmlns:p14="http://schemas.microsoft.com/office/powerpoint/2010/main" val="22055646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7"/>
                    </p:tgtEl>
                  </p:cond>
                </p:stCondLst>
                <p:endSync evt="end" delay="0">
                  <p:rtn val="all"/>
                </p:endSync>
                <p:childTnLst>
                  <p:par>
                    <p:cTn id="3" fill="hold">
                      <p:stCondLst>
                        <p:cond delay="0"/>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13" restart="whenNotActive" fill="hold" evtFilter="cancelBubble" nodeType="interactiveSeq">
                <p:stCondLst>
                  <p:cond evt="onClick" delay="0">
                    <p:tgtEl>
                      <p:spTgt spid="19"/>
                    </p:tgtEl>
                  </p:cond>
                </p:stCondLst>
                <p:endSync evt="end" delay="0">
                  <p:rtn val="all"/>
                </p:endSync>
                <p:childTnLst>
                  <p:par>
                    <p:cTn id="14" fill="hold">
                      <p:stCondLst>
                        <p:cond delay="0"/>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20"/>
                                        </p:tgtEl>
                                      </p:cBhvr>
                                    </p:animEffect>
                                    <p:set>
                                      <p:cBhvr>
                                        <p:cTn id="23" dur="1" fill="hold">
                                          <p:stCondLst>
                                            <p:cond delay="499"/>
                                          </p:stCondLst>
                                        </p:cTn>
                                        <p:tgtEl>
                                          <p:spTgt spid="20"/>
                                        </p:tgtEl>
                                        <p:attrNameLst>
                                          <p:attrName>style.visibility</p:attrName>
                                        </p:attrNameLst>
                                      </p:cBhvr>
                                      <p:to>
                                        <p:strVal val="hidden"/>
                                      </p:to>
                                    </p:set>
                                  </p:childTnLst>
                                </p:cTn>
                              </p:par>
                            </p:childTnLst>
                          </p:cTn>
                        </p:par>
                      </p:childTnLst>
                    </p:cTn>
                  </p:par>
                </p:childTnLst>
              </p:cTn>
              <p:nextCondLst>
                <p:cond evt="onClick" delay="0">
                  <p:tgtEl>
                    <p:spTgt spid="19"/>
                  </p:tgtEl>
                </p:cond>
              </p:nextCondLst>
            </p:seq>
            <p:seq concurrent="1" nextAc="seek">
              <p:cTn id="24" restart="whenNotActive" fill="hold" evtFilter="cancelBubble" nodeType="interactiveSeq">
                <p:stCondLst>
                  <p:cond evt="onClick" delay="0">
                    <p:tgtEl>
                      <p:spTgt spid="21"/>
                    </p:tgtEl>
                  </p:cond>
                </p:stCondLst>
                <p:endSync evt="end" delay="0">
                  <p:rtn val="all"/>
                </p:endSync>
                <p:childTnLst>
                  <p:par>
                    <p:cTn id="25" fill="hold">
                      <p:stCondLst>
                        <p:cond delay="0"/>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grpId="1" nodeType="clickEffect">
                                  <p:stCondLst>
                                    <p:cond delay="0"/>
                                  </p:stCondLst>
                                  <p:childTnLst>
                                    <p:animEffect transition="out" filter="fade">
                                      <p:cBhvr>
                                        <p:cTn id="33" dur="500"/>
                                        <p:tgtEl>
                                          <p:spTgt spid="22"/>
                                        </p:tgtEl>
                                      </p:cBhvr>
                                    </p:animEffect>
                                    <p:set>
                                      <p:cBhvr>
                                        <p:cTn id="34" dur="1" fill="hold">
                                          <p:stCondLst>
                                            <p:cond delay="499"/>
                                          </p:stCondLst>
                                        </p:cTn>
                                        <p:tgtEl>
                                          <p:spTgt spid="22"/>
                                        </p:tgtEl>
                                        <p:attrNameLst>
                                          <p:attrName>style.visibility</p:attrName>
                                        </p:attrNameLst>
                                      </p:cBhvr>
                                      <p:to>
                                        <p:strVal val="hidden"/>
                                      </p:to>
                                    </p:set>
                                  </p:childTnLst>
                                </p:cTn>
                              </p:par>
                            </p:childTnLst>
                          </p:cTn>
                        </p:par>
                      </p:childTnLst>
                    </p:cTn>
                  </p:par>
                </p:childTnLst>
              </p:cTn>
              <p:nextCondLst>
                <p:cond evt="onClick" delay="0">
                  <p:tgtEl>
                    <p:spTgt spid="21"/>
                  </p:tgtEl>
                </p:cond>
              </p:nextCondLst>
            </p:seq>
            <p:seq concurrent="1" nextAc="seek">
              <p:cTn id="35" restart="whenNotActive" fill="hold" evtFilter="cancelBubble" nodeType="interactiveSeq">
                <p:stCondLst>
                  <p:cond evt="onClick" delay="0">
                    <p:tgtEl>
                      <p:spTgt spid="23"/>
                    </p:tgtEl>
                  </p:cond>
                </p:stCondLst>
                <p:endSync evt="end" delay="0">
                  <p:rtn val="all"/>
                </p:endSync>
                <p:childTnLst>
                  <p:par>
                    <p:cTn id="36" fill="hold">
                      <p:stCondLst>
                        <p:cond delay="0"/>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500"/>
                                        <p:tgtEl>
                                          <p:spTgt spid="24"/>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grpId="1" nodeType="clickEffect">
                                  <p:stCondLst>
                                    <p:cond delay="0"/>
                                  </p:stCondLst>
                                  <p:childTnLst>
                                    <p:animEffect transition="out" filter="fade">
                                      <p:cBhvr>
                                        <p:cTn id="44" dur="500"/>
                                        <p:tgtEl>
                                          <p:spTgt spid="24"/>
                                        </p:tgtEl>
                                      </p:cBhvr>
                                    </p:animEffect>
                                    <p:set>
                                      <p:cBhvr>
                                        <p:cTn id="45" dur="1" fill="hold">
                                          <p:stCondLst>
                                            <p:cond delay="499"/>
                                          </p:stCondLst>
                                        </p:cTn>
                                        <p:tgtEl>
                                          <p:spTgt spid="24"/>
                                        </p:tgtEl>
                                        <p:attrNameLst>
                                          <p:attrName>style.visibility</p:attrName>
                                        </p:attrNameLst>
                                      </p:cBhvr>
                                      <p:to>
                                        <p:strVal val="hidden"/>
                                      </p:to>
                                    </p:set>
                                  </p:childTnLst>
                                </p:cTn>
                              </p:par>
                            </p:childTnLst>
                          </p:cTn>
                        </p:par>
                      </p:childTnLst>
                    </p:cTn>
                  </p:par>
                </p:childTnLst>
              </p:cTn>
              <p:nextCondLst>
                <p:cond evt="onClick" delay="0">
                  <p:tgtEl>
                    <p:spTgt spid="23"/>
                  </p:tgtEl>
                </p:cond>
              </p:nextCondLst>
            </p:seq>
            <p:seq concurrent="1" nextAc="seek">
              <p:cTn id="46" restart="whenNotActive" fill="hold" evtFilter="cancelBubble" nodeType="interactiveSeq">
                <p:stCondLst>
                  <p:cond evt="onClick" delay="0">
                    <p:tgtEl>
                      <p:spTgt spid="40"/>
                    </p:tgtEl>
                  </p:cond>
                </p:stCondLst>
                <p:endSync evt="end" delay="0">
                  <p:rtn val="all"/>
                </p:endSync>
                <p:childTnLst>
                  <p:par>
                    <p:cTn id="47" fill="hold">
                      <p:stCondLst>
                        <p:cond delay="0"/>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47"/>
                                        </p:tgtEl>
                                        <p:attrNameLst>
                                          <p:attrName>style.visibility</p:attrName>
                                        </p:attrNameLst>
                                      </p:cBhvr>
                                      <p:to>
                                        <p:strVal val="visible"/>
                                      </p:to>
                                    </p:set>
                                    <p:animEffect transition="in" filter="fade">
                                      <p:cBhvr>
                                        <p:cTn id="51" dur="500"/>
                                        <p:tgtEl>
                                          <p:spTgt spid="47"/>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xit" presetSubtype="0" fill="hold" nodeType="clickEffect">
                                  <p:stCondLst>
                                    <p:cond delay="0"/>
                                  </p:stCondLst>
                                  <p:childTnLst>
                                    <p:animEffect transition="out" filter="fade">
                                      <p:cBhvr>
                                        <p:cTn id="55" dur="500"/>
                                        <p:tgtEl>
                                          <p:spTgt spid="47"/>
                                        </p:tgtEl>
                                      </p:cBhvr>
                                    </p:animEffect>
                                    <p:set>
                                      <p:cBhvr>
                                        <p:cTn id="56" dur="1" fill="hold">
                                          <p:stCondLst>
                                            <p:cond delay="499"/>
                                          </p:stCondLst>
                                        </p:cTn>
                                        <p:tgtEl>
                                          <p:spTgt spid="47"/>
                                        </p:tgtEl>
                                        <p:attrNameLst>
                                          <p:attrName>style.visibility</p:attrName>
                                        </p:attrNameLst>
                                      </p:cBhvr>
                                      <p:to>
                                        <p:strVal val="hidden"/>
                                      </p:to>
                                    </p:set>
                                  </p:childTnLst>
                                </p:cTn>
                              </p:par>
                            </p:childTnLst>
                          </p:cTn>
                        </p:par>
                      </p:childTnLst>
                    </p:cTn>
                  </p:par>
                </p:childTnLst>
              </p:cTn>
              <p:nextCondLst>
                <p:cond evt="onClick" delay="0">
                  <p:tgtEl>
                    <p:spTgt spid="40"/>
                  </p:tgtEl>
                </p:cond>
              </p:nextCondLst>
            </p:seq>
            <p:seq concurrent="1" nextAc="seek">
              <p:cTn id="57" restart="whenNotActive" fill="hold" evtFilter="cancelBubble" nodeType="interactiveSeq">
                <p:stCondLst>
                  <p:cond evt="onClick" delay="0">
                    <p:tgtEl>
                      <p:spTgt spid="25"/>
                    </p:tgtEl>
                  </p:cond>
                </p:stCondLst>
                <p:endSync evt="end" delay="0">
                  <p:rtn val="all"/>
                </p:endSync>
                <p:childTnLst>
                  <p:par>
                    <p:cTn id="58" fill="hold">
                      <p:stCondLst>
                        <p:cond delay="0"/>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48"/>
                                        </p:tgtEl>
                                        <p:attrNameLst>
                                          <p:attrName>style.visibility</p:attrName>
                                        </p:attrNameLst>
                                      </p:cBhvr>
                                      <p:to>
                                        <p:strVal val="visible"/>
                                      </p:to>
                                    </p:set>
                                    <p:animEffect transition="in" filter="fade">
                                      <p:cBhvr>
                                        <p:cTn id="62" dur="500"/>
                                        <p:tgtEl>
                                          <p:spTgt spid="48"/>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nodeType="clickEffect">
                                  <p:stCondLst>
                                    <p:cond delay="0"/>
                                  </p:stCondLst>
                                  <p:childTnLst>
                                    <p:animEffect transition="out" filter="fade">
                                      <p:cBhvr>
                                        <p:cTn id="66" dur="500"/>
                                        <p:tgtEl>
                                          <p:spTgt spid="48"/>
                                        </p:tgtEl>
                                      </p:cBhvr>
                                    </p:animEffect>
                                    <p:set>
                                      <p:cBhvr>
                                        <p:cTn id="67" dur="1" fill="hold">
                                          <p:stCondLst>
                                            <p:cond delay="499"/>
                                          </p:stCondLst>
                                        </p:cTn>
                                        <p:tgtEl>
                                          <p:spTgt spid="48"/>
                                        </p:tgtEl>
                                        <p:attrNameLst>
                                          <p:attrName>style.visibility</p:attrName>
                                        </p:attrNameLst>
                                      </p:cBhvr>
                                      <p:to>
                                        <p:strVal val="hidden"/>
                                      </p:to>
                                    </p:set>
                                  </p:childTnLst>
                                </p:cTn>
                              </p:par>
                            </p:childTnLst>
                          </p:cTn>
                        </p:par>
                      </p:childTnLst>
                    </p:cTn>
                  </p:par>
                </p:childTnLst>
              </p:cTn>
              <p:nextCondLst>
                <p:cond evt="onClick" delay="0">
                  <p:tgtEl>
                    <p:spTgt spid="25"/>
                  </p:tgtEl>
                </p:cond>
              </p:nextCondLst>
            </p:seq>
            <p:seq concurrent="1" nextAc="seek">
              <p:cTn id="68" restart="whenNotActive" fill="hold" evtFilter="cancelBubble" nodeType="interactiveSeq">
                <p:stCondLst>
                  <p:cond evt="onClick" delay="0">
                    <p:tgtEl>
                      <p:spTgt spid="27"/>
                    </p:tgtEl>
                  </p:cond>
                </p:stCondLst>
                <p:endSync evt="end" delay="0">
                  <p:rtn val="all"/>
                </p:endSync>
                <p:childTnLst>
                  <p:par>
                    <p:cTn id="69" fill="hold">
                      <p:stCondLst>
                        <p:cond delay="0"/>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8"/>
                                        </p:tgtEl>
                                        <p:attrNameLst>
                                          <p:attrName>style.visibility</p:attrName>
                                        </p:attrNameLst>
                                      </p:cBhvr>
                                      <p:to>
                                        <p:strVal val="visible"/>
                                      </p:to>
                                    </p:set>
                                    <p:animEffect transition="in" filter="fade">
                                      <p:cBhvr>
                                        <p:cTn id="73" dur="500"/>
                                        <p:tgtEl>
                                          <p:spTgt spid="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xit" presetSubtype="0" fill="hold" nodeType="clickEffect">
                                  <p:stCondLst>
                                    <p:cond delay="0"/>
                                  </p:stCondLst>
                                  <p:childTnLst>
                                    <p:animEffect transition="out" filter="fade">
                                      <p:cBhvr>
                                        <p:cTn id="77" dur="500"/>
                                        <p:tgtEl>
                                          <p:spTgt spid="8"/>
                                        </p:tgtEl>
                                      </p:cBhvr>
                                    </p:animEffect>
                                    <p:set>
                                      <p:cBhvr>
                                        <p:cTn id="78" dur="1" fill="hold">
                                          <p:stCondLst>
                                            <p:cond delay="499"/>
                                          </p:stCondLst>
                                        </p:cTn>
                                        <p:tgtEl>
                                          <p:spTgt spid="8"/>
                                        </p:tgtEl>
                                        <p:attrNameLst>
                                          <p:attrName>style.visibility</p:attrName>
                                        </p:attrNameLst>
                                      </p:cBhvr>
                                      <p:to>
                                        <p:strVal val="hidden"/>
                                      </p:to>
                                    </p:set>
                                  </p:childTnLst>
                                </p:cTn>
                              </p:par>
                            </p:childTnLst>
                          </p:cTn>
                        </p:par>
                      </p:childTnLst>
                    </p:cTn>
                  </p:par>
                </p:childTnLst>
              </p:cTn>
              <p:nextCondLst>
                <p:cond evt="onClick" delay="0">
                  <p:tgtEl>
                    <p:spTgt spid="27"/>
                  </p:tgtEl>
                </p:cond>
              </p:nextCondLst>
            </p:seq>
          </p:childTnLst>
        </p:cTn>
      </p:par>
    </p:tnLst>
    <p:bldLst>
      <p:bldP spid="18" grpId="0" animBg="1"/>
      <p:bldP spid="18" grpId="1" animBg="1"/>
      <p:bldP spid="20" grpId="0" animBg="1"/>
      <p:bldP spid="20" grpId="1" animBg="1"/>
      <p:bldP spid="22" grpId="0" animBg="1"/>
      <p:bldP spid="22" grpId="1" animBg="1"/>
      <p:bldP spid="24" grpId="0" animBg="1"/>
      <p:bldP spid="24"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96E31537-F2D0-4F4C-9C0A-9FE31F14B3A4}"/>
              </a:ext>
            </a:extLst>
          </p:cNvPr>
          <p:cNvPicPr>
            <a:picLocks noChangeAspect="1"/>
          </p:cNvPicPr>
          <p:nvPr/>
        </p:nvPicPr>
        <p:blipFill>
          <a:blip r:embed="rId3"/>
          <a:stretch>
            <a:fillRect/>
          </a:stretch>
        </p:blipFill>
        <p:spPr>
          <a:xfrm>
            <a:off x="2958500" y="1057366"/>
            <a:ext cx="6035882" cy="5721514"/>
          </a:xfrm>
          <a:prstGeom prst="rect">
            <a:avLst/>
          </a:prstGeom>
        </p:spPr>
      </p:pic>
      <p:sp>
        <p:nvSpPr>
          <p:cNvPr id="5" name="Rectangle: Rounded Corners 4">
            <a:extLst>
              <a:ext uri="{FF2B5EF4-FFF2-40B4-BE49-F238E27FC236}">
                <a16:creationId xmlns:a16="http://schemas.microsoft.com/office/drawing/2014/main" id="{53A7E79D-6CBC-44D1-9B7F-4FD4B1FC9D53}"/>
              </a:ext>
            </a:extLst>
          </p:cNvPr>
          <p:cNvSpPr/>
          <p:nvPr/>
        </p:nvSpPr>
        <p:spPr>
          <a:xfrm>
            <a:off x="4978400" y="307097"/>
            <a:ext cx="1989666" cy="618066"/>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bg1"/>
                </a:solidFill>
              </a:rPr>
              <a:t>Raising Service Incidents &amp; Enquiries</a:t>
            </a:r>
          </a:p>
        </p:txBody>
      </p:sp>
      <p:sp>
        <p:nvSpPr>
          <p:cNvPr id="8" name="Rectangle: Rounded Corners 7">
            <a:hlinkClick r:id="rId4" action="ppaction://hlinksldjump"/>
            <a:extLst>
              <a:ext uri="{FF2B5EF4-FFF2-40B4-BE49-F238E27FC236}">
                <a16:creationId xmlns:a16="http://schemas.microsoft.com/office/drawing/2014/main" id="{705002FF-F17A-4D1A-ABB1-5D2E433AF1DB}"/>
              </a:ext>
            </a:extLst>
          </p:cNvPr>
          <p:cNvSpPr/>
          <p:nvPr/>
        </p:nvSpPr>
        <p:spPr>
          <a:xfrm>
            <a:off x="73152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Invoicing &amp; Payments</a:t>
            </a:r>
          </a:p>
        </p:txBody>
      </p:sp>
      <p:sp>
        <p:nvSpPr>
          <p:cNvPr id="9" name="Rectangle: Rounded Corners 8">
            <a:hlinkClick r:id="rId5" action="ppaction://hlinksldjump"/>
            <a:extLst>
              <a:ext uri="{FF2B5EF4-FFF2-40B4-BE49-F238E27FC236}">
                <a16:creationId xmlns:a16="http://schemas.microsoft.com/office/drawing/2014/main" id="{C37C2B3B-FCE0-42BF-A522-1C1FEB7EA4CC}"/>
              </a:ext>
            </a:extLst>
          </p:cNvPr>
          <p:cNvSpPr/>
          <p:nvPr/>
        </p:nvSpPr>
        <p:spPr>
          <a:xfrm>
            <a:off x="96520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User Administration</a:t>
            </a:r>
          </a:p>
        </p:txBody>
      </p:sp>
      <p:sp>
        <p:nvSpPr>
          <p:cNvPr id="10" name="Rectangle: Rounded Corners 9">
            <a:hlinkClick r:id="rId6" action="ppaction://hlinksldjump"/>
            <a:extLst>
              <a:ext uri="{FF2B5EF4-FFF2-40B4-BE49-F238E27FC236}">
                <a16:creationId xmlns:a16="http://schemas.microsoft.com/office/drawing/2014/main" id="{ACA38B28-D28F-4CDE-8F9D-742505EA7750}"/>
              </a:ext>
            </a:extLst>
          </p:cNvPr>
          <p:cNvSpPr/>
          <p:nvPr/>
        </p:nvSpPr>
        <p:spPr>
          <a:xfrm>
            <a:off x="3048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Qualification, Quoting &amp; Ordering</a:t>
            </a:r>
          </a:p>
        </p:txBody>
      </p:sp>
      <p:sp>
        <p:nvSpPr>
          <p:cNvPr id="11" name="Rectangle: Rounded Corners 10">
            <a:hlinkClick r:id="rId7" action="ppaction://hlinksldjump"/>
            <a:extLst>
              <a:ext uri="{FF2B5EF4-FFF2-40B4-BE49-F238E27FC236}">
                <a16:creationId xmlns:a16="http://schemas.microsoft.com/office/drawing/2014/main" id="{A34F5815-2DBD-4A08-BAF3-8D52D17F3088}"/>
              </a:ext>
            </a:extLst>
          </p:cNvPr>
          <p:cNvSpPr/>
          <p:nvPr/>
        </p:nvSpPr>
        <p:spPr>
          <a:xfrm>
            <a:off x="26416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Service Inventory</a:t>
            </a:r>
          </a:p>
        </p:txBody>
      </p:sp>
      <p:sp>
        <p:nvSpPr>
          <p:cNvPr id="13" name="Flowchart: Off-page Connector 12">
            <a:extLst>
              <a:ext uri="{FF2B5EF4-FFF2-40B4-BE49-F238E27FC236}">
                <a16:creationId xmlns:a16="http://schemas.microsoft.com/office/drawing/2014/main" id="{D22B4925-BA81-4C43-8AF8-4257137CF5C0}"/>
              </a:ext>
            </a:extLst>
          </p:cNvPr>
          <p:cNvSpPr/>
          <p:nvPr/>
        </p:nvSpPr>
        <p:spPr>
          <a:xfrm>
            <a:off x="6985918" y="6402690"/>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1</a:t>
            </a:r>
          </a:p>
        </p:txBody>
      </p:sp>
      <p:sp>
        <p:nvSpPr>
          <p:cNvPr id="14" name="TextBox 13">
            <a:extLst>
              <a:ext uri="{FF2B5EF4-FFF2-40B4-BE49-F238E27FC236}">
                <a16:creationId xmlns:a16="http://schemas.microsoft.com/office/drawing/2014/main" id="{2D80846E-BC9A-482F-BA09-9DEB18F18848}"/>
              </a:ext>
            </a:extLst>
          </p:cNvPr>
          <p:cNvSpPr txBox="1"/>
          <p:nvPr/>
        </p:nvSpPr>
        <p:spPr>
          <a:xfrm>
            <a:off x="7001086" y="5371775"/>
            <a:ext cx="1989667" cy="907941"/>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Attachment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nables you to add documents to provide as much detail as possible to assist us to resolve the issue</a:t>
            </a:r>
          </a:p>
        </p:txBody>
      </p:sp>
      <p:sp>
        <p:nvSpPr>
          <p:cNvPr id="15" name="Flowchart: Off-page Connector 14">
            <a:extLst>
              <a:ext uri="{FF2B5EF4-FFF2-40B4-BE49-F238E27FC236}">
                <a16:creationId xmlns:a16="http://schemas.microsoft.com/office/drawing/2014/main" id="{7E8CC7BC-995C-43A9-9E7B-20C028D2D409}"/>
              </a:ext>
            </a:extLst>
          </p:cNvPr>
          <p:cNvSpPr/>
          <p:nvPr/>
        </p:nvSpPr>
        <p:spPr>
          <a:xfrm>
            <a:off x="6985918" y="3924906"/>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3</a:t>
            </a:r>
          </a:p>
        </p:txBody>
      </p:sp>
      <p:sp>
        <p:nvSpPr>
          <p:cNvPr id="17" name="Flowchart: Off-page Connector 16">
            <a:extLst>
              <a:ext uri="{FF2B5EF4-FFF2-40B4-BE49-F238E27FC236}">
                <a16:creationId xmlns:a16="http://schemas.microsoft.com/office/drawing/2014/main" id="{FC4FCE2A-E99B-48B4-AC73-913314983064}"/>
              </a:ext>
            </a:extLst>
          </p:cNvPr>
          <p:cNvSpPr/>
          <p:nvPr/>
        </p:nvSpPr>
        <p:spPr>
          <a:xfrm>
            <a:off x="4298148" y="3056888"/>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2</a:t>
            </a:r>
          </a:p>
        </p:txBody>
      </p:sp>
      <p:sp>
        <p:nvSpPr>
          <p:cNvPr id="18" name="TextBox 17">
            <a:extLst>
              <a:ext uri="{FF2B5EF4-FFF2-40B4-BE49-F238E27FC236}">
                <a16:creationId xmlns:a16="http://schemas.microsoft.com/office/drawing/2014/main" id="{5837AA73-A644-480C-9DF1-03D4516D0DE2}"/>
              </a:ext>
            </a:extLst>
          </p:cNvPr>
          <p:cNvSpPr txBox="1"/>
          <p:nvPr/>
        </p:nvSpPr>
        <p:spPr>
          <a:xfrm>
            <a:off x="2162931" y="2568574"/>
            <a:ext cx="1989667" cy="1231106"/>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Incident Detail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scribe in detail what has occurred, what investigation you have done to isolate the location of the issue, and the date/time you first noticed the issue</a:t>
            </a:r>
          </a:p>
        </p:txBody>
      </p:sp>
      <p:sp>
        <p:nvSpPr>
          <p:cNvPr id="19" name="Flowchart: Off-page Connector 18">
            <a:extLst>
              <a:ext uri="{FF2B5EF4-FFF2-40B4-BE49-F238E27FC236}">
                <a16:creationId xmlns:a16="http://schemas.microsoft.com/office/drawing/2014/main" id="{7262539E-AFE9-45F0-999E-16EBE2A2E827}"/>
              </a:ext>
            </a:extLst>
          </p:cNvPr>
          <p:cNvSpPr/>
          <p:nvPr/>
        </p:nvSpPr>
        <p:spPr>
          <a:xfrm>
            <a:off x="4298148" y="1667722"/>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1</a:t>
            </a:r>
          </a:p>
        </p:txBody>
      </p:sp>
      <p:sp>
        <p:nvSpPr>
          <p:cNvPr id="20" name="TextBox 19">
            <a:extLst>
              <a:ext uri="{FF2B5EF4-FFF2-40B4-BE49-F238E27FC236}">
                <a16:creationId xmlns:a16="http://schemas.microsoft.com/office/drawing/2014/main" id="{8D2F335F-97D8-4D42-938A-A30113CA1670}"/>
              </a:ext>
            </a:extLst>
          </p:cNvPr>
          <p:cNvSpPr txBox="1"/>
          <p:nvPr/>
        </p:nvSpPr>
        <p:spPr>
          <a:xfrm>
            <a:off x="2162931" y="1278868"/>
            <a:ext cx="1989667" cy="1561966"/>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Service Incident High Level Detail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dvise the person or team who should receive notifications relating to the service incident, your internal ticket reference, and the impact (i.e. service not working vs degraded)</a:t>
            </a:r>
          </a:p>
        </p:txBody>
      </p:sp>
      <p:sp>
        <p:nvSpPr>
          <p:cNvPr id="16" name="TextBox 15">
            <a:extLst>
              <a:ext uri="{FF2B5EF4-FFF2-40B4-BE49-F238E27FC236}">
                <a16:creationId xmlns:a16="http://schemas.microsoft.com/office/drawing/2014/main" id="{B4F0E6D4-0FBD-4BD4-AED2-45783CCAD02E}"/>
              </a:ext>
            </a:extLst>
          </p:cNvPr>
          <p:cNvSpPr txBox="1"/>
          <p:nvPr/>
        </p:nvSpPr>
        <p:spPr>
          <a:xfrm>
            <a:off x="7315199" y="3382890"/>
            <a:ext cx="1989667" cy="1392689"/>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Incident Contact</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llows you to advise who to contact to find out more detail (if required), and to allow FibreconX or our contractors to work with this person to locate and restore the issue</a:t>
            </a:r>
          </a:p>
        </p:txBody>
      </p:sp>
      <p:sp>
        <p:nvSpPr>
          <p:cNvPr id="21" name="Flowchart: Off-page Connector 20">
            <a:extLst>
              <a:ext uri="{FF2B5EF4-FFF2-40B4-BE49-F238E27FC236}">
                <a16:creationId xmlns:a16="http://schemas.microsoft.com/office/drawing/2014/main" id="{10F1A820-5F0A-4578-B2C8-5453C0365B30}"/>
              </a:ext>
            </a:extLst>
          </p:cNvPr>
          <p:cNvSpPr/>
          <p:nvPr/>
        </p:nvSpPr>
        <p:spPr>
          <a:xfrm>
            <a:off x="4193233" y="5305441"/>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2</a:t>
            </a:r>
          </a:p>
        </p:txBody>
      </p:sp>
      <p:sp>
        <p:nvSpPr>
          <p:cNvPr id="22" name="TextBox 21">
            <a:extLst>
              <a:ext uri="{FF2B5EF4-FFF2-40B4-BE49-F238E27FC236}">
                <a16:creationId xmlns:a16="http://schemas.microsoft.com/office/drawing/2014/main" id="{E4B4DE5E-1EAA-4699-AD36-D6FE8C6EA2CB}"/>
              </a:ext>
            </a:extLst>
          </p:cNvPr>
          <p:cNvSpPr txBox="1"/>
          <p:nvPr/>
        </p:nvSpPr>
        <p:spPr>
          <a:xfrm>
            <a:off x="2058016" y="4817127"/>
            <a:ext cx="1989667" cy="106952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Associated Service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ake sure you add all services which are impacted by the incident as this will potentially assist in identifying the location of the issue</a:t>
            </a:r>
          </a:p>
        </p:txBody>
      </p:sp>
    </p:spTree>
    <p:extLst>
      <p:ext uri="{BB962C8B-B14F-4D97-AF65-F5344CB8AC3E}">
        <p14:creationId xmlns:p14="http://schemas.microsoft.com/office/powerpoint/2010/main" val="23888964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3"/>
                    </p:tgtEl>
                  </p:cond>
                </p:stCondLst>
                <p:endSync evt="end" delay="0">
                  <p:rtn val="all"/>
                </p:endSync>
                <p:childTnLst>
                  <p:par>
                    <p:cTn id="3" fill="hold">
                      <p:stCondLst>
                        <p:cond delay="0"/>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14"/>
                                        </p:tgtEl>
                                      </p:cBhvr>
                                    </p:animEffect>
                                    <p:set>
                                      <p:cBhvr>
                                        <p:cTn id="12" dur="1" fill="hold">
                                          <p:stCondLst>
                                            <p:cond delay="499"/>
                                          </p:stCondLst>
                                        </p:cTn>
                                        <p:tgtEl>
                                          <p:spTgt spid="14"/>
                                        </p:tgtEl>
                                        <p:attrNameLst>
                                          <p:attrName>style.visibility</p:attrName>
                                        </p:attrNameLst>
                                      </p:cBhvr>
                                      <p:to>
                                        <p:strVal val="hidden"/>
                                      </p:to>
                                    </p:set>
                                  </p:childTnLst>
                                </p:cTn>
                              </p:par>
                            </p:childTnLst>
                          </p:cTn>
                        </p:par>
                      </p:childTnLst>
                    </p:cTn>
                  </p:par>
                </p:childTnLst>
              </p:cTn>
              <p:nextCondLst>
                <p:cond evt="onClick" delay="0">
                  <p:tgtEl>
                    <p:spTgt spid="13"/>
                  </p:tgtEl>
                </p:cond>
              </p:nextCondLst>
            </p:seq>
            <p:seq concurrent="1" nextAc="seek">
              <p:cTn id="13" restart="whenNotActive" fill="hold" evtFilter="cancelBubble" nodeType="interactiveSeq">
                <p:stCondLst>
                  <p:cond evt="onClick" delay="0">
                    <p:tgtEl>
                      <p:spTgt spid="15"/>
                    </p:tgtEl>
                  </p:cond>
                </p:stCondLst>
                <p:endSync evt="end" delay="0">
                  <p:rtn val="all"/>
                </p:endSync>
                <p:childTnLst>
                  <p:par>
                    <p:cTn id="14" fill="hold">
                      <p:stCondLst>
                        <p:cond delay="0"/>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16"/>
                                        </p:tgtEl>
                                      </p:cBhvr>
                                    </p:animEffect>
                                    <p:set>
                                      <p:cBhvr>
                                        <p:cTn id="23" dur="1" fill="hold">
                                          <p:stCondLst>
                                            <p:cond delay="499"/>
                                          </p:stCondLst>
                                        </p:cTn>
                                        <p:tgtEl>
                                          <p:spTgt spid="16"/>
                                        </p:tgtEl>
                                        <p:attrNameLst>
                                          <p:attrName>style.visibility</p:attrName>
                                        </p:attrNameLst>
                                      </p:cBhvr>
                                      <p:to>
                                        <p:strVal val="hidden"/>
                                      </p:to>
                                    </p:set>
                                  </p:childTnLst>
                                </p:cTn>
                              </p:par>
                            </p:childTnLst>
                          </p:cTn>
                        </p:par>
                      </p:childTnLst>
                    </p:cTn>
                  </p:par>
                </p:childTnLst>
              </p:cTn>
              <p:nextCondLst>
                <p:cond evt="onClick" delay="0">
                  <p:tgtEl>
                    <p:spTgt spid="15"/>
                  </p:tgtEl>
                </p:cond>
              </p:nextCondLst>
            </p:seq>
            <p:seq concurrent="1" nextAc="seek">
              <p:cTn id="24" restart="whenNotActive" fill="hold" evtFilter="cancelBubble" nodeType="interactiveSeq">
                <p:stCondLst>
                  <p:cond evt="onClick" delay="0">
                    <p:tgtEl>
                      <p:spTgt spid="17"/>
                    </p:tgtEl>
                  </p:cond>
                </p:stCondLst>
                <p:endSync evt="end" delay="0">
                  <p:rtn val="all"/>
                </p:endSync>
                <p:childTnLst>
                  <p:par>
                    <p:cTn id="25" fill="hold">
                      <p:stCondLst>
                        <p:cond delay="0"/>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grpId="1" nodeType="clickEffect">
                                  <p:stCondLst>
                                    <p:cond delay="0"/>
                                  </p:stCondLst>
                                  <p:childTnLst>
                                    <p:animEffect transition="out" filter="fade">
                                      <p:cBhvr>
                                        <p:cTn id="33" dur="500"/>
                                        <p:tgtEl>
                                          <p:spTgt spid="18"/>
                                        </p:tgtEl>
                                      </p:cBhvr>
                                    </p:animEffect>
                                    <p:set>
                                      <p:cBhvr>
                                        <p:cTn id="34" dur="1" fill="hold">
                                          <p:stCondLst>
                                            <p:cond delay="499"/>
                                          </p:stCondLst>
                                        </p:cTn>
                                        <p:tgtEl>
                                          <p:spTgt spid="18"/>
                                        </p:tgtEl>
                                        <p:attrNameLst>
                                          <p:attrName>style.visibility</p:attrName>
                                        </p:attrNameLst>
                                      </p:cBhvr>
                                      <p:to>
                                        <p:strVal val="hidden"/>
                                      </p:to>
                                    </p:set>
                                  </p:childTnLst>
                                </p:cTn>
                              </p:par>
                            </p:childTnLst>
                          </p:cTn>
                        </p:par>
                      </p:childTnLst>
                    </p:cTn>
                  </p:par>
                </p:childTnLst>
              </p:cTn>
              <p:nextCondLst>
                <p:cond evt="onClick" delay="0">
                  <p:tgtEl>
                    <p:spTgt spid="17"/>
                  </p:tgtEl>
                </p:cond>
              </p:nextCondLst>
            </p:seq>
            <p:seq concurrent="1" nextAc="seek">
              <p:cTn id="35" restart="whenNotActive" fill="hold" evtFilter="cancelBubble" nodeType="interactiveSeq">
                <p:stCondLst>
                  <p:cond evt="onClick" delay="0">
                    <p:tgtEl>
                      <p:spTgt spid="19"/>
                    </p:tgtEl>
                  </p:cond>
                </p:stCondLst>
                <p:endSync evt="end" delay="0">
                  <p:rtn val="all"/>
                </p:endSync>
                <p:childTnLst>
                  <p:par>
                    <p:cTn id="36" fill="hold">
                      <p:stCondLst>
                        <p:cond delay="0"/>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grpId="1" nodeType="clickEffect">
                                  <p:stCondLst>
                                    <p:cond delay="0"/>
                                  </p:stCondLst>
                                  <p:childTnLst>
                                    <p:animEffect transition="out" filter="fade">
                                      <p:cBhvr>
                                        <p:cTn id="44" dur="500"/>
                                        <p:tgtEl>
                                          <p:spTgt spid="20"/>
                                        </p:tgtEl>
                                      </p:cBhvr>
                                    </p:animEffect>
                                    <p:set>
                                      <p:cBhvr>
                                        <p:cTn id="45" dur="1" fill="hold">
                                          <p:stCondLst>
                                            <p:cond delay="499"/>
                                          </p:stCondLst>
                                        </p:cTn>
                                        <p:tgtEl>
                                          <p:spTgt spid="20"/>
                                        </p:tgtEl>
                                        <p:attrNameLst>
                                          <p:attrName>style.visibility</p:attrName>
                                        </p:attrNameLst>
                                      </p:cBhvr>
                                      <p:to>
                                        <p:strVal val="hidden"/>
                                      </p:to>
                                    </p:set>
                                  </p:childTnLst>
                                </p:cTn>
                              </p:par>
                            </p:childTnLst>
                          </p:cTn>
                        </p:par>
                      </p:childTnLst>
                    </p:cTn>
                  </p:par>
                </p:childTnLst>
              </p:cTn>
              <p:nextCondLst>
                <p:cond evt="onClick" delay="0">
                  <p:tgtEl>
                    <p:spTgt spid="19"/>
                  </p:tgtEl>
                </p:cond>
              </p:nextCondLst>
            </p:seq>
            <p:seq concurrent="1" nextAc="seek">
              <p:cTn id="46" restart="whenNotActive" fill="hold" evtFilter="cancelBubble" nodeType="interactiveSeq">
                <p:stCondLst>
                  <p:cond evt="onClick" delay="0">
                    <p:tgtEl>
                      <p:spTgt spid="21"/>
                    </p:tgtEl>
                  </p:cond>
                </p:stCondLst>
                <p:endSync evt="end" delay="0">
                  <p:rtn val="all"/>
                </p:endSync>
                <p:childTnLst>
                  <p:par>
                    <p:cTn id="47" fill="hold">
                      <p:stCondLst>
                        <p:cond delay="0"/>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xit" presetSubtype="0" fill="hold" grpId="1" nodeType="clickEffect">
                                  <p:stCondLst>
                                    <p:cond delay="0"/>
                                  </p:stCondLst>
                                  <p:childTnLst>
                                    <p:animEffect transition="out" filter="fade">
                                      <p:cBhvr>
                                        <p:cTn id="55" dur="500"/>
                                        <p:tgtEl>
                                          <p:spTgt spid="22"/>
                                        </p:tgtEl>
                                      </p:cBhvr>
                                    </p:animEffect>
                                    <p:set>
                                      <p:cBhvr>
                                        <p:cTn id="56" dur="1" fill="hold">
                                          <p:stCondLst>
                                            <p:cond delay="499"/>
                                          </p:stCondLst>
                                        </p:cTn>
                                        <p:tgtEl>
                                          <p:spTgt spid="22"/>
                                        </p:tgtEl>
                                        <p:attrNameLst>
                                          <p:attrName>style.visibility</p:attrName>
                                        </p:attrNameLst>
                                      </p:cBhvr>
                                      <p:to>
                                        <p:strVal val="hidden"/>
                                      </p:to>
                                    </p:set>
                                  </p:childTnLst>
                                </p:cTn>
                              </p:par>
                            </p:childTnLst>
                          </p:cTn>
                        </p:par>
                      </p:childTnLst>
                    </p:cTn>
                  </p:par>
                </p:childTnLst>
              </p:cTn>
              <p:nextCondLst>
                <p:cond evt="onClick" delay="0">
                  <p:tgtEl>
                    <p:spTgt spid="21"/>
                  </p:tgtEl>
                </p:cond>
              </p:nextCondLst>
            </p:seq>
          </p:childTnLst>
        </p:cTn>
      </p:par>
    </p:tnLst>
    <p:bldLst>
      <p:bldP spid="14" grpId="0" animBg="1"/>
      <p:bldP spid="14" grpId="1" animBg="1"/>
      <p:bldP spid="18" grpId="0" animBg="1"/>
      <p:bldP spid="18" grpId="1" animBg="1"/>
      <p:bldP spid="20" grpId="0" animBg="1"/>
      <p:bldP spid="20" grpId="1" animBg="1"/>
      <p:bldP spid="16" grpId="0" animBg="1"/>
      <p:bldP spid="16" grpId="1" animBg="1"/>
      <p:bldP spid="22" grpId="0" animBg="1"/>
      <p:bldP spid="22"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36193C1-277C-4DFA-A1DC-32EECDF8BF87}"/>
              </a:ext>
            </a:extLst>
          </p:cNvPr>
          <p:cNvSpPr/>
          <p:nvPr/>
        </p:nvSpPr>
        <p:spPr>
          <a:xfrm>
            <a:off x="7315200" y="307097"/>
            <a:ext cx="1989666" cy="618066"/>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bg1"/>
                </a:solidFill>
              </a:rPr>
              <a:t>Invoicing &amp; Payments</a:t>
            </a:r>
          </a:p>
        </p:txBody>
      </p:sp>
      <p:sp>
        <p:nvSpPr>
          <p:cNvPr id="8" name="Rectangle: Rounded Corners 7">
            <a:hlinkClick r:id="rId3" action="ppaction://hlinksldjump"/>
            <a:extLst>
              <a:ext uri="{FF2B5EF4-FFF2-40B4-BE49-F238E27FC236}">
                <a16:creationId xmlns:a16="http://schemas.microsoft.com/office/drawing/2014/main" id="{428DC1A2-B547-4209-AA90-7B886268D951}"/>
              </a:ext>
            </a:extLst>
          </p:cNvPr>
          <p:cNvSpPr/>
          <p:nvPr/>
        </p:nvSpPr>
        <p:spPr>
          <a:xfrm>
            <a:off x="96520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User Administration</a:t>
            </a:r>
          </a:p>
        </p:txBody>
      </p:sp>
      <p:sp>
        <p:nvSpPr>
          <p:cNvPr id="9" name="Rectangle: Rounded Corners 8">
            <a:hlinkClick r:id="rId4" action="ppaction://hlinksldjump"/>
            <a:extLst>
              <a:ext uri="{FF2B5EF4-FFF2-40B4-BE49-F238E27FC236}">
                <a16:creationId xmlns:a16="http://schemas.microsoft.com/office/drawing/2014/main" id="{97EF1A0C-E5F7-46E2-951F-59DEF6B6FA31}"/>
              </a:ext>
            </a:extLst>
          </p:cNvPr>
          <p:cNvSpPr/>
          <p:nvPr/>
        </p:nvSpPr>
        <p:spPr>
          <a:xfrm>
            <a:off x="3048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Qualification, Quoting &amp; Ordering</a:t>
            </a:r>
          </a:p>
        </p:txBody>
      </p:sp>
      <p:sp>
        <p:nvSpPr>
          <p:cNvPr id="10" name="Rectangle: Rounded Corners 9">
            <a:hlinkClick r:id="rId5" action="ppaction://hlinksldjump"/>
            <a:extLst>
              <a:ext uri="{FF2B5EF4-FFF2-40B4-BE49-F238E27FC236}">
                <a16:creationId xmlns:a16="http://schemas.microsoft.com/office/drawing/2014/main" id="{DCDA2036-3E0E-40F0-B77C-2A564659A5B1}"/>
              </a:ext>
            </a:extLst>
          </p:cNvPr>
          <p:cNvSpPr/>
          <p:nvPr/>
        </p:nvSpPr>
        <p:spPr>
          <a:xfrm>
            <a:off x="26416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Service Inventory</a:t>
            </a:r>
          </a:p>
        </p:txBody>
      </p:sp>
      <p:sp>
        <p:nvSpPr>
          <p:cNvPr id="11" name="Rectangle: Rounded Corners 10">
            <a:hlinkClick r:id="rId6" action="ppaction://hlinksldjump"/>
            <a:extLst>
              <a:ext uri="{FF2B5EF4-FFF2-40B4-BE49-F238E27FC236}">
                <a16:creationId xmlns:a16="http://schemas.microsoft.com/office/drawing/2014/main" id="{57EF46BB-56B1-4B31-84F7-DFDA5D8261DA}"/>
              </a:ext>
            </a:extLst>
          </p:cNvPr>
          <p:cNvSpPr/>
          <p:nvPr/>
        </p:nvSpPr>
        <p:spPr>
          <a:xfrm>
            <a:off x="49784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Raising Service Incidents &amp; Enquiries</a:t>
            </a:r>
          </a:p>
        </p:txBody>
      </p:sp>
      <p:pic>
        <p:nvPicPr>
          <p:cNvPr id="12" name="Picture 11">
            <a:extLst>
              <a:ext uri="{FF2B5EF4-FFF2-40B4-BE49-F238E27FC236}">
                <a16:creationId xmlns:a16="http://schemas.microsoft.com/office/drawing/2014/main" id="{FB4A56DA-1CCE-4CDC-81DE-0BB282A51C36}"/>
              </a:ext>
            </a:extLst>
          </p:cNvPr>
          <p:cNvPicPr>
            <a:picLocks noChangeAspect="1"/>
          </p:cNvPicPr>
          <p:nvPr/>
        </p:nvPicPr>
        <p:blipFill>
          <a:blip r:embed="rId7"/>
          <a:stretch>
            <a:fillRect/>
          </a:stretch>
        </p:blipFill>
        <p:spPr>
          <a:xfrm>
            <a:off x="1568450" y="1374107"/>
            <a:ext cx="9144000" cy="5181600"/>
          </a:xfrm>
          <a:prstGeom prst="rect">
            <a:avLst/>
          </a:prstGeom>
        </p:spPr>
      </p:pic>
      <p:sp>
        <p:nvSpPr>
          <p:cNvPr id="13" name="TextBox 12">
            <a:extLst>
              <a:ext uri="{FF2B5EF4-FFF2-40B4-BE49-F238E27FC236}">
                <a16:creationId xmlns:a16="http://schemas.microsoft.com/office/drawing/2014/main" id="{6F425B5B-90FC-41F1-B46B-5D3595F090BB}"/>
              </a:ext>
            </a:extLst>
          </p:cNvPr>
          <p:cNvSpPr txBox="1"/>
          <p:nvPr/>
        </p:nvSpPr>
        <p:spPr>
          <a:xfrm>
            <a:off x="4908351" y="2186349"/>
            <a:ext cx="1989667" cy="584775"/>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Account Balance</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iew your account balance in a single location</a:t>
            </a:r>
          </a:p>
        </p:txBody>
      </p:sp>
      <p:sp>
        <p:nvSpPr>
          <p:cNvPr id="14" name="Flowchart: Off-page Connector 13">
            <a:extLst>
              <a:ext uri="{FF2B5EF4-FFF2-40B4-BE49-F238E27FC236}">
                <a16:creationId xmlns:a16="http://schemas.microsoft.com/office/drawing/2014/main" id="{437BA1CE-9FFD-4DAE-9087-4977EF9654E1}"/>
              </a:ext>
            </a:extLst>
          </p:cNvPr>
          <p:cNvSpPr/>
          <p:nvPr/>
        </p:nvSpPr>
        <p:spPr>
          <a:xfrm>
            <a:off x="6312570" y="1877621"/>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2</a:t>
            </a:r>
          </a:p>
        </p:txBody>
      </p:sp>
      <p:sp>
        <p:nvSpPr>
          <p:cNvPr id="15" name="TextBox 14">
            <a:extLst>
              <a:ext uri="{FF2B5EF4-FFF2-40B4-BE49-F238E27FC236}">
                <a16:creationId xmlns:a16="http://schemas.microsoft.com/office/drawing/2014/main" id="{A0B6F01B-E7AC-4181-9D70-EF5D69E4DC43}"/>
              </a:ext>
            </a:extLst>
          </p:cNvPr>
          <p:cNvSpPr txBox="1"/>
          <p:nvPr/>
        </p:nvSpPr>
        <p:spPr>
          <a:xfrm>
            <a:off x="7958397" y="4033159"/>
            <a:ext cx="1989667" cy="584775"/>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Invoice Payment Statu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ee the current status of each invoice</a:t>
            </a:r>
          </a:p>
        </p:txBody>
      </p:sp>
      <p:sp>
        <p:nvSpPr>
          <p:cNvPr id="16" name="Flowchart: Off-page Connector 15">
            <a:extLst>
              <a:ext uri="{FF2B5EF4-FFF2-40B4-BE49-F238E27FC236}">
                <a16:creationId xmlns:a16="http://schemas.microsoft.com/office/drawing/2014/main" id="{AC25F024-21A4-4E56-BCA5-4B6A3505F500}"/>
              </a:ext>
            </a:extLst>
          </p:cNvPr>
          <p:cNvSpPr/>
          <p:nvPr/>
        </p:nvSpPr>
        <p:spPr>
          <a:xfrm>
            <a:off x="9362616" y="3724431"/>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3</a:t>
            </a:r>
          </a:p>
        </p:txBody>
      </p:sp>
      <p:sp>
        <p:nvSpPr>
          <p:cNvPr id="17" name="TextBox 16">
            <a:extLst>
              <a:ext uri="{FF2B5EF4-FFF2-40B4-BE49-F238E27FC236}">
                <a16:creationId xmlns:a16="http://schemas.microsoft.com/office/drawing/2014/main" id="{273D5D1B-96EF-41DB-A345-81AC5C55346E}"/>
              </a:ext>
            </a:extLst>
          </p:cNvPr>
          <p:cNvSpPr txBox="1"/>
          <p:nvPr/>
        </p:nvSpPr>
        <p:spPr>
          <a:xfrm>
            <a:off x="8510894" y="1597337"/>
            <a:ext cx="1989667" cy="106952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Invoice Download</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Unable to find the email containing your recent FibreconX invoice? Download your historical invoices from the FibreconX Fusion Portal</a:t>
            </a:r>
          </a:p>
        </p:txBody>
      </p:sp>
      <p:sp>
        <p:nvSpPr>
          <p:cNvPr id="18" name="Flowchart: Off-page Connector 17">
            <a:extLst>
              <a:ext uri="{FF2B5EF4-FFF2-40B4-BE49-F238E27FC236}">
                <a16:creationId xmlns:a16="http://schemas.microsoft.com/office/drawing/2014/main" id="{44FE69E4-7277-46E9-AA57-1189F74BDA89}"/>
              </a:ext>
            </a:extLst>
          </p:cNvPr>
          <p:cNvSpPr/>
          <p:nvPr/>
        </p:nvSpPr>
        <p:spPr>
          <a:xfrm>
            <a:off x="9992115" y="2788040"/>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4</a:t>
            </a:r>
          </a:p>
        </p:txBody>
      </p:sp>
      <p:sp>
        <p:nvSpPr>
          <p:cNvPr id="21" name="TextBox 20">
            <a:extLst>
              <a:ext uri="{FF2B5EF4-FFF2-40B4-BE49-F238E27FC236}">
                <a16:creationId xmlns:a16="http://schemas.microsoft.com/office/drawing/2014/main" id="{49A2E70F-523E-4D1E-8FAE-E51DB008DB59}"/>
              </a:ext>
            </a:extLst>
          </p:cNvPr>
          <p:cNvSpPr txBox="1"/>
          <p:nvPr/>
        </p:nvSpPr>
        <p:spPr>
          <a:xfrm>
            <a:off x="2243937" y="3351662"/>
            <a:ext cx="1989667" cy="1392689"/>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Invoice Listing</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ee a list of all your existing FibreconX invoices in a </a:t>
            </a:r>
            <a:r>
              <a:rPr lang="en-AU" sz="105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ingle location</a:t>
            </a:r>
            <a:endPar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l">
              <a:buClr>
                <a:schemeClr val="accent2"/>
              </a:buClr>
            </a:pPr>
            <a:r>
              <a:rPr lang="en-AU" sz="1050" i="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Note: Access to this page can be restricted to individual user accounts within your organisation</a:t>
            </a:r>
          </a:p>
        </p:txBody>
      </p:sp>
      <p:sp>
        <p:nvSpPr>
          <p:cNvPr id="22" name="Flowchart: Off-page Connector 21">
            <a:extLst>
              <a:ext uri="{FF2B5EF4-FFF2-40B4-BE49-F238E27FC236}">
                <a16:creationId xmlns:a16="http://schemas.microsoft.com/office/drawing/2014/main" id="{58EA84D8-D067-4C49-B898-6DCF0E8B456E}"/>
              </a:ext>
            </a:extLst>
          </p:cNvPr>
          <p:cNvSpPr/>
          <p:nvPr/>
        </p:nvSpPr>
        <p:spPr>
          <a:xfrm>
            <a:off x="3133855" y="3042518"/>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1</a:t>
            </a:r>
          </a:p>
        </p:txBody>
      </p:sp>
    </p:spTree>
    <p:extLst>
      <p:ext uri="{BB962C8B-B14F-4D97-AF65-F5344CB8AC3E}">
        <p14:creationId xmlns:p14="http://schemas.microsoft.com/office/powerpoint/2010/main" val="19741188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4"/>
                    </p:tgtEl>
                  </p:cond>
                </p:stCondLst>
                <p:endSync evt="end" delay="0">
                  <p:rtn val="all"/>
                </p:endSync>
                <p:childTnLst>
                  <p:par>
                    <p:cTn id="3" fill="hold">
                      <p:stCondLst>
                        <p:cond delay="0"/>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13"/>
                                        </p:tgtEl>
                                      </p:cBhvr>
                                    </p:animEffect>
                                    <p:set>
                                      <p:cBhvr>
                                        <p:cTn id="12" dur="1" fill="hold">
                                          <p:stCondLst>
                                            <p:cond delay="499"/>
                                          </p:stCondLst>
                                        </p:cTn>
                                        <p:tgtEl>
                                          <p:spTgt spid="13"/>
                                        </p:tgtEl>
                                        <p:attrNameLst>
                                          <p:attrName>style.visibility</p:attrName>
                                        </p:attrNameLst>
                                      </p:cBhvr>
                                      <p:to>
                                        <p:strVal val="hidden"/>
                                      </p:to>
                                    </p:set>
                                  </p:childTnLst>
                                </p:cTn>
                              </p:par>
                            </p:childTnLst>
                          </p:cTn>
                        </p:par>
                      </p:childTnLst>
                    </p:cTn>
                  </p:par>
                </p:childTnLst>
              </p:cTn>
              <p:nextCondLst>
                <p:cond evt="onClick" delay="0">
                  <p:tgtEl>
                    <p:spTgt spid="14"/>
                  </p:tgtEl>
                </p:cond>
              </p:nextCondLst>
            </p:seq>
            <p:seq concurrent="1" nextAc="seek">
              <p:cTn id="13" restart="whenNotActive" fill="hold" evtFilter="cancelBubble" nodeType="interactiveSeq">
                <p:stCondLst>
                  <p:cond evt="onClick" delay="0">
                    <p:tgtEl>
                      <p:spTgt spid="16"/>
                    </p:tgtEl>
                  </p:cond>
                </p:stCondLst>
                <p:endSync evt="end" delay="0">
                  <p:rtn val="all"/>
                </p:endSync>
                <p:childTnLst>
                  <p:par>
                    <p:cTn id="14" fill="hold">
                      <p:stCondLst>
                        <p:cond delay="0"/>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15"/>
                                        </p:tgtEl>
                                      </p:cBhvr>
                                    </p:animEffect>
                                    <p:set>
                                      <p:cBhvr>
                                        <p:cTn id="23" dur="1" fill="hold">
                                          <p:stCondLst>
                                            <p:cond delay="499"/>
                                          </p:stCondLst>
                                        </p:cTn>
                                        <p:tgtEl>
                                          <p:spTgt spid="15"/>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24" restart="whenNotActive" fill="hold" evtFilter="cancelBubble" nodeType="interactiveSeq">
                <p:stCondLst>
                  <p:cond evt="onClick" delay="0">
                    <p:tgtEl>
                      <p:spTgt spid="18"/>
                    </p:tgtEl>
                  </p:cond>
                </p:stCondLst>
                <p:endSync evt="end" delay="0">
                  <p:rtn val="all"/>
                </p:endSync>
                <p:childTnLst>
                  <p:par>
                    <p:cTn id="25" fill="hold">
                      <p:stCondLst>
                        <p:cond delay="0"/>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grpId="1" nodeType="clickEffect">
                                  <p:stCondLst>
                                    <p:cond delay="0"/>
                                  </p:stCondLst>
                                  <p:childTnLst>
                                    <p:animEffect transition="out" filter="fade">
                                      <p:cBhvr>
                                        <p:cTn id="33" dur="500"/>
                                        <p:tgtEl>
                                          <p:spTgt spid="17"/>
                                        </p:tgtEl>
                                      </p:cBhvr>
                                    </p:animEffect>
                                    <p:set>
                                      <p:cBhvr>
                                        <p:cTn id="34" dur="1" fill="hold">
                                          <p:stCondLst>
                                            <p:cond delay="499"/>
                                          </p:stCondLst>
                                        </p:cTn>
                                        <p:tgtEl>
                                          <p:spTgt spid="17"/>
                                        </p:tgtEl>
                                        <p:attrNameLst>
                                          <p:attrName>style.visibility</p:attrName>
                                        </p:attrNameLst>
                                      </p:cBhvr>
                                      <p:to>
                                        <p:strVal val="hidden"/>
                                      </p:to>
                                    </p:set>
                                  </p:childTnLst>
                                </p:cTn>
                              </p:par>
                            </p:childTnLst>
                          </p:cTn>
                        </p:par>
                      </p:childTnLst>
                    </p:cTn>
                  </p:par>
                </p:childTnLst>
              </p:cTn>
              <p:nextCondLst>
                <p:cond evt="onClick" delay="0">
                  <p:tgtEl>
                    <p:spTgt spid="18"/>
                  </p:tgtEl>
                </p:cond>
              </p:nextCondLst>
            </p:seq>
            <p:seq concurrent="1" nextAc="seek">
              <p:cTn id="35" restart="whenNotActive" fill="hold" evtFilter="cancelBubble" nodeType="interactiveSeq">
                <p:stCondLst>
                  <p:cond evt="onClick" delay="0">
                    <p:tgtEl>
                      <p:spTgt spid="22"/>
                    </p:tgtEl>
                  </p:cond>
                </p:stCondLst>
                <p:endSync evt="end" delay="0">
                  <p:rtn val="all"/>
                </p:endSync>
                <p:childTnLst>
                  <p:par>
                    <p:cTn id="36" fill="hold">
                      <p:stCondLst>
                        <p:cond delay="0"/>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grpId="1" nodeType="clickEffect">
                                  <p:stCondLst>
                                    <p:cond delay="0"/>
                                  </p:stCondLst>
                                  <p:childTnLst>
                                    <p:animEffect transition="out" filter="fade">
                                      <p:cBhvr>
                                        <p:cTn id="44" dur="500"/>
                                        <p:tgtEl>
                                          <p:spTgt spid="21"/>
                                        </p:tgtEl>
                                      </p:cBhvr>
                                    </p:animEffect>
                                    <p:set>
                                      <p:cBhvr>
                                        <p:cTn id="45" dur="1" fill="hold">
                                          <p:stCondLst>
                                            <p:cond delay="499"/>
                                          </p:stCondLst>
                                        </p:cTn>
                                        <p:tgtEl>
                                          <p:spTgt spid="21"/>
                                        </p:tgtEl>
                                        <p:attrNameLst>
                                          <p:attrName>style.visibility</p:attrName>
                                        </p:attrNameLst>
                                      </p:cBhvr>
                                      <p:to>
                                        <p:strVal val="hidden"/>
                                      </p:to>
                                    </p:set>
                                  </p:childTnLst>
                                </p:cTn>
                              </p:par>
                            </p:childTnLst>
                          </p:cTn>
                        </p:par>
                      </p:childTnLst>
                    </p:cTn>
                  </p:par>
                </p:childTnLst>
              </p:cTn>
              <p:nextCondLst>
                <p:cond evt="onClick" delay="0">
                  <p:tgtEl>
                    <p:spTgt spid="22"/>
                  </p:tgtEl>
                </p:cond>
              </p:nextCondLst>
            </p:seq>
          </p:childTnLst>
        </p:cTn>
      </p:par>
    </p:tnLst>
    <p:bldLst>
      <p:bldP spid="13" grpId="0" animBg="1"/>
      <p:bldP spid="13" grpId="1" animBg="1"/>
      <p:bldP spid="15" grpId="0" animBg="1"/>
      <p:bldP spid="15" grpId="1" animBg="1"/>
      <p:bldP spid="17" grpId="0" animBg="1"/>
      <p:bldP spid="17" grpId="1" animBg="1"/>
      <p:bldP spid="21" grpId="0" animBg="1"/>
      <p:bldP spid="21"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E2D638FA-3566-475B-90AD-4DAD3F897D72}"/>
              </a:ext>
            </a:extLst>
          </p:cNvPr>
          <p:cNvPicPr>
            <a:picLocks noChangeAspect="1"/>
          </p:cNvPicPr>
          <p:nvPr/>
        </p:nvPicPr>
        <p:blipFill>
          <a:blip r:embed="rId3"/>
          <a:stretch>
            <a:fillRect/>
          </a:stretch>
        </p:blipFill>
        <p:spPr>
          <a:xfrm>
            <a:off x="1556016" y="1374717"/>
            <a:ext cx="9145277" cy="5182323"/>
          </a:xfrm>
          <a:prstGeom prst="rect">
            <a:avLst/>
          </a:prstGeom>
        </p:spPr>
      </p:pic>
      <p:sp>
        <p:nvSpPr>
          <p:cNvPr id="3" name="Rectangle: Rounded Corners 2">
            <a:hlinkClick r:id="rId4" action="ppaction://hlinksldjump"/>
            <a:extLst>
              <a:ext uri="{FF2B5EF4-FFF2-40B4-BE49-F238E27FC236}">
                <a16:creationId xmlns:a16="http://schemas.microsoft.com/office/drawing/2014/main" id="{8452A011-28E3-49B4-AC6F-854C9F1262A3}"/>
              </a:ext>
            </a:extLst>
          </p:cNvPr>
          <p:cNvSpPr/>
          <p:nvPr/>
        </p:nvSpPr>
        <p:spPr>
          <a:xfrm>
            <a:off x="3048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Qualification, Quoting &amp; Ordering</a:t>
            </a:r>
          </a:p>
        </p:txBody>
      </p:sp>
      <p:sp>
        <p:nvSpPr>
          <p:cNvPr id="7" name="Rectangle: Rounded Corners 6">
            <a:extLst>
              <a:ext uri="{FF2B5EF4-FFF2-40B4-BE49-F238E27FC236}">
                <a16:creationId xmlns:a16="http://schemas.microsoft.com/office/drawing/2014/main" id="{6313CA7F-F2B0-4D58-B96D-A884FCD949DA}"/>
              </a:ext>
            </a:extLst>
          </p:cNvPr>
          <p:cNvSpPr/>
          <p:nvPr/>
        </p:nvSpPr>
        <p:spPr>
          <a:xfrm>
            <a:off x="9652000" y="307097"/>
            <a:ext cx="1989666" cy="618066"/>
          </a:xfrm>
          <a:prstGeom prst="roundRect">
            <a:avLst/>
          </a:prstGeom>
          <a:solidFill>
            <a:srgbClr val="324C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bg1"/>
                </a:solidFill>
              </a:rPr>
              <a:t>User Administration</a:t>
            </a:r>
          </a:p>
        </p:txBody>
      </p:sp>
      <p:sp>
        <p:nvSpPr>
          <p:cNvPr id="8" name="Rectangle: Rounded Corners 7">
            <a:hlinkClick r:id="rId5" action="ppaction://hlinksldjump"/>
            <a:extLst>
              <a:ext uri="{FF2B5EF4-FFF2-40B4-BE49-F238E27FC236}">
                <a16:creationId xmlns:a16="http://schemas.microsoft.com/office/drawing/2014/main" id="{CADC75C4-18E9-4BCF-89A7-02FA6547366F}"/>
              </a:ext>
            </a:extLst>
          </p:cNvPr>
          <p:cNvSpPr/>
          <p:nvPr/>
        </p:nvSpPr>
        <p:spPr>
          <a:xfrm>
            <a:off x="26416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Service Inventory</a:t>
            </a:r>
          </a:p>
        </p:txBody>
      </p:sp>
      <p:sp>
        <p:nvSpPr>
          <p:cNvPr id="9" name="Rectangle: Rounded Corners 8">
            <a:hlinkClick r:id="rId6" action="ppaction://hlinksldjump"/>
            <a:extLst>
              <a:ext uri="{FF2B5EF4-FFF2-40B4-BE49-F238E27FC236}">
                <a16:creationId xmlns:a16="http://schemas.microsoft.com/office/drawing/2014/main" id="{434827A4-2B77-49D6-B2E2-588F11197F04}"/>
              </a:ext>
            </a:extLst>
          </p:cNvPr>
          <p:cNvSpPr/>
          <p:nvPr/>
        </p:nvSpPr>
        <p:spPr>
          <a:xfrm>
            <a:off x="49784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Raising Service Incidents &amp; Enquiries</a:t>
            </a:r>
          </a:p>
        </p:txBody>
      </p:sp>
      <p:sp>
        <p:nvSpPr>
          <p:cNvPr id="10" name="Rectangle: Rounded Corners 9">
            <a:hlinkClick r:id="rId7" action="ppaction://hlinksldjump"/>
            <a:extLst>
              <a:ext uri="{FF2B5EF4-FFF2-40B4-BE49-F238E27FC236}">
                <a16:creationId xmlns:a16="http://schemas.microsoft.com/office/drawing/2014/main" id="{E10E967D-4EE0-42BE-AD91-7AA2C1BEA90D}"/>
              </a:ext>
            </a:extLst>
          </p:cNvPr>
          <p:cNvSpPr/>
          <p:nvPr/>
        </p:nvSpPr>
        <p:spPr>
          <a:xfrm>
            <a:off x="7315200" y="307097"/>
            <a:ext cx="1989666" cy="618066"/>
          </a:xfrm>
          <a:prstGeom prst="roundRect">
            <a:avLst/>
          </a:prstGeom>
          <a:solidFill>
            <a:srgbClr val="AFE2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solidFill>
                  <a:schemeClr val="tx1"/>
                </a:solidFill>
              </a:rPr>
              <a:t>Invoicing &amp; Payments</a:t>
            </a:r>
          </a:p>
        </p:txBody>
      </p:sp>
      <p:sp>
        <p:nvSpPr>
          <p:cNvPr id="13" name="Flowchart: Off-page Connector 12">
            <a:extLst>
              <a:ext uri="{FF2B5EF4-FFF2-40B4-BE49-F238E27FC236}">
                <a16:creationId xmlns:a16="http://schemas.microsoft.com/office/drawing/2014/main" id="{F0D7C733-A5D8-4AA8-815A-0C8DB5E49207}"/>
              </a:ext>
            </a:extLst>
          </p:cNvPr>
          <p:cNvSpPr/>
          <p:nvPr/>
        </p:nvSpPr>
        <p:spPr>
          <a:xfrm>
            <a:off x="3779206" y="2475642"/>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1</a:t>
            </a:r>
          </a:p>
        </p:txBody>
      </p:sp>
      <p:sp>
        <p:nvSpPr>
          <p:cNvPr id="14" name="TextBox 13">
            <a:extLst>
              <a:ext uri="{FF2B5EF4-FFF2-40B4-BE49-F238E27FC236}">
                <a16:creationId xmlns:a16="http://schemas.microsoft.com/office/drawing/2014/main" id="{9A1DE905-83FD-4E91-B472-3753103A0D4F}"/>
              </a:ext>
            </a:extLst>
          </p:cNvPr>
          <p:cNvSpPr txBox="1"/>
          <p:nvPr/>
        </p:nvSpPr>
        <p:spPr>
          <a:xfrm>
            <a:off x="2889286" y="2871020"/>
            <a:ext cx="1989667" cy="1231106"/>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Organisation Detail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ee all the important details FibreconX records about your organisation, noting the ‘Primary Email’ is the email address where all Network Event notifications are sent.</a:t>
            </a:r>
          </a:p>
        </p:txBody>
      </p:sp>
      <p:sp>
        <p:nvSpPr>
          <p:cNvPr id="16" name="Flowchart: Off-page Connector 15">
            <a:extLst>
              <a:ext uri="{FF2B5EF4-FFF2-40B4-BE49-F238E27FC236}">
                <a16:creationId xmlns:a16="http://schemas.microsoft.com/office/drawing/2014/main" id="{22378677-2746-4D29-B1EE-86C2FCFC5691}"/>
              </a:ext>
            </a:extLst>
          </p:cNvPr>
          <p:cNvSpPr/>
          <p:nvPr/>
        </p:nvSpPr>
        <p:spPr>
          <a:xfrm>
            <a:off x="8070987" y="4922088"/>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2</a:t>
            </a:r>
          </a:p>
        </p:txBody>
      </p:sp>
      <p:sp>
        <p:nvSpPr>
          <p:cNvPr id="17" name="TextBox 16">
            <a:extLst>
              <a:ext uri="{FF2B5EF4-FFF2-40B4-BE49-F238E27FC236}">
                <a16:creationId xmlns:a16="http://schemas.microsoft.com/office/drawing/2014/main" id="{B4AFD19E-DB75-4187-B4FA-86099A883D70}"/>
              </a:ext>
            </a:extLst>
          </p:cNvPr>
          <p:cNvSpPr txBox="1"/>
          <p:nvPr/>
        </p:nvSpPr>
        <p:spPr>
          <a:xfrm>
            <a:off x="7181067" y="5317466"/>
            <a:ext cx="2123799" cy="584775"/>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Individual User Account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ee all your users in a single location</a:t>
            </a:r>
          </a:p>
        </p:txBody>
      </p:sp>
      <p:sp>
        <p:nvSpPr>
          <p:cNvPr id="18" name="Flowchart: Off-page Connector 17">
            <a:extLst>
              <a:ext uri="{FF2B5EF4-FFF2-40B4-BE49-F238E27FC236}">
                <a16:creationId xmlns:a16="http://schemas.microsoft.com/office/drawing/2014/main" id="{4ABF0980-802D-47D4-BC14-FF73C35E7309}"/>
              </a:ext>
            </a:extLst>
          </p:cNvPr>
          <p:cNvSpPr/>
          <p:nvPr/>
        </p:nvSpPr>
        <p:spPr>
          <a:xfrm>
            <a:off x="3967179" y="4563822"/>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4</a:t>
            </a:r>
          </a:p>
        </p:txBody>
      </p:sp>
      <p:sp>
        <p:nvSpPr>
          <p:cNvPr id="19" name="TextBox 18">
            <a:extLst>
              <a:ext uri="{FF2B5EF4-FFF2-40B4-BE49-F238E27FC236}">
                <a16:creationId xmlns:a16="http://schemas.microsoft.com/office/drawing/2014/main" id="{30F66098-3922-417B-9502-177206EDBECB}"/>
              </a:ext>
            </a:extLst>
          </p:cNvPr>
          <p:cNvSpPr txBox="1"/>
          <p:nvPr/>
        </p:nvSpPr>
        <p:spPr>
          <a:xfrm>
            <a:off x="3983566" y="4911965"/>
            <a:ext cx="1989667" cy="1392689"/>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Team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anage your interactions with FibreconX how you want to, whether directly with individuals, or through teams, generally where teams are identified by a distribution list/group email address</a:t>
            </a:r>
          </a:p>
        </p:txBody>
      </p:sp>
      <p:grpSp>
        <p:nvGrpSpPr>
          <p:cNvPr id="42" name="Group 41">
            <a:extLst>
              <a:ext uri="{FF2B5EF4-FFF2-40B4-BE49-F238E27FC236}">
                <a16:creationId xmlns:a16="http://schemas.microsoft.com/office/drawing/2014/main" id="{9BAB88AC-CAD7-4011-AA17-4C6128DF1804}"/>
              </a:ext>
            </a:extLst>
          </p:cNvPr>
          <p:cNvGrpSpPr/>
          <p:nvPr/>
        </p:nvGrpSpPr>
        <p:grpSpPr>
          <a:xfrm>
            <a:off x="1549609" y="1391632"/>
            <a:ext cx="9145277" cy="5182323"/>
            <a:chOff x="1549609" y="1391632"/>
            <a:chExt cx="9145277" cy="5182323"/>
          </a:xfrm>
        </p:grpSpPr>
        <p:pic>
          <p:nvPicPr>
            <p:cNvPr id="41" name="Picture 40">
              <a:extLst>
                <a:ext uri="{FF2B5EF4-FFF2-40B4-BE49-F238E27FC236}">
                  <a16:creationId xmlns:a16="http://schemas.microsoft.com/office/drawing/2014/main" id="{57DAD337-115A-4803-9EAC-672B8DE6BB32}"/>
                </a:ext>
              </a:extLst>
            </p:cNvPr>
            <p:cNvPicPr>
              <a:picLocks noChangeAspect="1"/>
            </p:cNvPicPr>
            <p:nvPr/>
          </p:nvPicPr>
          <p:blipFill>
            <a:blip r:embed="rId8"/>
            <a:stretch>
              <a:fillRect/>
            </a:stretch>
          </p:blipFill>
          <p:spPr>
            <a:xfrm>
              <a:off x="1549609" y="1391632"/>
              <a:ext cx="9145277" cy="5182323"/>
            </a:xfrm>
            <a:prstGeom prst="rect">
              <a:avLst/>
            </a:prstGeom>
          </p:spPr>
        </p:pic>
        <p:sp>
          <p:nvSpPr>
            <p:cNvPr id="21" name="TextBox 20">
              <a:extLst>
                <a:ext uri="{FF2B5EF4-FFF2-40B4-BE49-F238E27FC236}">
                  <a16:creationId xmlns:a16="http://schemas.microsoft.com/office/drawing/2014/main" id="{C79D050D-B014-4377-A21F-A1ECCB625CB1}"/>
                </a:ext>
              </a:extLst>
            </p:cNvPr>
            <p:cNvSpPr txBox="1"/>
            <p:nvPr/>
          </p:nvSpPr>
          <p:spPr>
            <a:xfrm>
              <a:off x="7782634" y="3848402"/>
              <a:ext cx="2283931" cy="2039020"/>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Clr>
                  <a:schemeClr val="accent2"/>
                </a:buClr>
              </a:pPr>
              <a:r>
                <a:rPr lang="en-AU" sz="1100" b="1" dirty="0">
                  <a:solidFill>
                    <a:schemeClr val="tx1"/>
                  </a:solidFill>
                  <a:latin typeface="Montserrat" panose="00000500000000000000" pitchFamily="2" charset="0"/>
                  <a:ea typeface="Open Sans Light" panose="020B0306030504020204" pitchFamily="34" charset="0"/>
                  <a:cs typeface="Open Sans Light" panose="020B0306030504020204" pitchFamily="34" charset="0"/>
                </a:rPr>
                <a:t>Add User Account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dd user accounts for individuals you want to be able to interact with FibreconX, noting Administrator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dd, edit &amp; delete user accounts within your organisation</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Control Multi-Factor Authentication (MFA) settings on a per user basis</a:t>
              </a:r>
            </a:p>
            <a:p>
              <a:pPr algn="l">
                <a:buClr>
                  <a:schemeClr val="accent2"/>
                </a:buClr>
              </a:pPr>
              <a:r>
                <a:rPr lang="en-AU" sz="10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Manage which users can see the Invoice &amp; Payments menu</a:t>
              </a:r>
            </a:p>
          </p:txBody>
        </p:sp>
      </p:grpSp>
      <p:sp>
        <p:nvSpPr>
          <p:cNvPr id="20" name="Flowchart: Off-page Connector 19">
            <a:extLst>
              <a:ext uri="{FF2B5EF4-FFF2-40B4-BE49-F238E27FC236}">
                <a16:creationId xmlns:a16="http://schemas.microsoft.com/office/drawing/2014/main" id="{2DE0663B-316B-48E9-89F2-7E373FC695D5}"/>
              </a:ext>
            </a:extLst>
          </p:cNvPr>
          <p:cNvSpPr/>
          <p:nvPr/>
        </p:nvSpPr>
        <p:spPr>
          <a:xfrm>
            <a:off x="10214663" y="4691061"/>
            <a:ext cx="209829" cy="254478"/>
          </a:xfrm>
          <a:prstGeom prst="flowChartOffpageConnector">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AU" sz="900" dirty="0">
                <a:solidFill>
                  <a:schemeClr val="tx1"/>
                </a:solidFill>
              </a:rPr>
              <a:t>3</a:t>
            </a:r>
          </a:p>
        </p:txBody>
      </p:sp>
    </p:spTree>
    <p:extLst>
      <p:ext uri="{BB962C8B-B14F-4D97-AF65-F5344CB8AC3E}">
        <p14:creationId xmlns:p14="http://schemas.microsoft.com/office/powerpoint/2010/main" val="31031752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3"/>
                    </p:tgtEl>
                  </p:cond>
                </p:stCondLst>
                <p:endSync evt="end" delay="0">
                  <p:rtn val="all"/>
                </p:endSync>
                <p:childTnLst>
                  <p:par>
                    <p:cTn id="3" fill="hold">
                      <p:stCondLst>
                        <p:cond delay="0"/>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14"/>
                                        </p:tgtEl>
                                      </p:cBhvr>
                                    </p:animEffect>
                                    <p:set>
                                      <p:cBhvr>
                                        <p:cTn id="12" dur="1" fill="hold">
                                          <p:stCondLst>
                                            <p:cond delay="499"/>
                                          </p:stCondLst>
                                        </p:cTn>
                                        <p:tgtEl>
                                          <p:spTgt spid="14"/>
                                        </p:tgtEl>
                                        <p:attrNameLst>
                                          <p:attrName>style.visibility</p:attrName>
                                        </p:attrNameLst>
                                      </p:cBhvr>
                                      <p:to>
                                        <p:strVal val="hidden"/>
                                      </p:to>
                                    </p:set>
                                  </p:childTnLst>
                                </p:cTn>
                              </p:par>
                            </p:childTnLst>
                          </p:cTn>
                        </p:par>
                      </p:childTnLst>
                    </p:cTn>
                  </p:par>
                </p:childTnLst>
              </p:cTn>
              <p:nextCondLst>
                <p:cond evt="onClick" delay="0">
                  <p:tgtEl>
                    <p:spTgt spid="13"/>
                  </p:tgtEl>
                </p:cond>
              </p:nextCondLst>
            </p:seq>
            <p:seq concurrent="1" nextAc="seek">
              <p:cTn id="13" restart="whenNotActive" fill="hold" evtFilter="cancelBubble" nodeType="interactiveSeq">
                <p:stCondLst>
                  <p:cond evt="onClick" delay="0">
                    <p:tgtEl>
                      <p:spTgt spid="16"/>
                    </p:tgtEl>
                  </p:cond>
                </p:stCondLst>
                <p:endSync evt="end" delay="0">
                  <p:rtn val="all"/>
                </p:endSync>
                <p:childTnLst>
                  <p:par>
                    <p:cTn id="14" fill="hold">
                      <p:stCondLst>
                        <p:cond delay="0"/>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17"/>
                                        </p:tgtEl>
                                      </p:cBhvr>
                                    </p:animEffect>
                                    <p:set>
                                      <p:cBhvr>
                                        <p:cTn id="23" dur="1" fill="hold">
                                          <p:stCondLst>
                                            <p:cond delay="499"/>
                                          </p:stCondLst>
                                        </p:cTn>
                                        <p:tgtEl>
                                          <p:spTgt spid="17"/>
                                        </p:tgtEl>
                                        <p:attrNameLst>
                                          <p:attrName>style.visibility</p:attrName>
                                        </p:attrNameLst>
                                      </p:cBhvr>
                                      <p:to>
                                        <p:strVal val="hidden"/>
                                      </p:to>
                                    </p:set>
                                  </p:childTnLst>
                                </p:cTn>
                              </p:par>
                            </p:childTnLst>
                          </p:cTn>
                        </p:par>
                      </p:childTnLst>
                    </p:cTn>
                  </p:par>
                </p:childTnLst>
              </p:cTn>
              <p:nextCondLst>
                <p:cond evt="onClick" delay="0">
                  <p:tgtEl>
                    <p:spTgt spid="16"/>
                  </p:tgtEl>
                </p:cond>
              </p:nextCondLst>
            </p:seq>
            <p:seq concurrent="1" nextAc="seek">
              <p:cTn id="24" restart="whenNotActive" fill="hold" evtFilter="cancelBubble" nodeType="interactiveSeq">
                <p:stCondLst>
                  <p:cond evt="onClick" delay="0">
                    <p:tgtEl>
                      <p:spTgt spid="18"/>
                    </p:tgtEl>
                  </p:cond>
                </p:stCondLst>
                <p:endSync evt="end" delay="0">
                  <p:rtn val="all"/>
                </p:endSync>
                <p:childTnLst>
                  <p:par>
                    <p:cTn id="25" fill="hold">
                      <p:stCondLst>
                        <p:cond delay="0"/>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grpId="1" nodeType="clickEffect">
                                  <p:stCondLst>
                                    <p:cond delay="0"/>
                                  </p:stCondLst>
                                  <p:childTnLst>
                                    <p:animEffect transition="out" filter="fade">
                                      <p:cBhvr>
                                        <p:cTn id="33" dur="500"/>
                                        <p:tgtEl>
                                          <p:spTgt spid="19"/>
                                        </p:tgtEl>
                                      </p:cBhvr>
                                    </p:animEffect>
                                    <p:set>
                                      <p:cBhvr>
                                        <p:cTn id="34" dur="1" fill="hold">
                                          <p:stCondLst>
                                            <p:cond delay="499"/>
                                          </p:stCondLst>
                                        </p:cTn>
                                        <p:tgtEl>
                                          <p:spTgt spid="19"/>
                                        </p:tgtEl>
                                        <p:attrNameLst>
                                          <p:attrName>style.visibility</p:attrName>
                                        </p:attrNameLst>
                                      </p:cBhvr>
                                      <p:to>
                                        <p:strVal val="hidden"/>
                                      </p:to>
                                    </p:set>
                                  </p:childTnLst>
                                </p:cTn>
                              </p:par>
                            </p:childTnLst>
                          </p:cTn>
                        </p:par>
                      </p:childTnLst>
                    </p:cTn>
                  </p:par>
                </p:childTnLst>
              </p:cTn>
              <p:nextCondLst>
                <p:cond evt="onClick" delay="0">
                  <p:tgtEl>
                    <p:spTgt spid="18"/>
                  </p:tgtEl>
                </p:cond>
              </p:nextCondLst>
            </p:seq>
            <p:seq concurrent="1" nextAc="seek">
              <p:cTn id="35" restart="whenNotActive" fill="hold" evtFilter="cancelBubble" nodeType="interactiveSeq">
                <p:stCondLst>
                  <p:cond evt="onClick" delay="0">
                    <p:tgtEl>
                      <p:spTgt spid="20"/>
                    </p:tgtEl>
                  </p:cond>
                </p:stCondLst>
                <p:endSync evt="end" delay="0">
                  <p:rtn val="all"/>
                </p:endSync>
                <p:childTnLst>
                  <p:par>
                    <p:cTn id="36" fill="hold">
                      <p:stCondLst>
                        <p:cond delay="0"/>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nodeType="clickEffect">
                                  <p:stCondLst>
                                    <p:cond delay="0"/>
                                  </p:stCondLst>
                                  <p:childTnLst>
                                    <p:animEffect transition="out" filter="fade">
                                      <p:cBhvr>
                                        <p:cTn id="44" dur="500"/>
                                        <p:tgtEl>
                                          <p:spTgt spid="42"/>
                                        </p:tgtEl>
                                      </p:cBhvr>
                                    </p:animEffect>
                                    <p:set>
                                      <p:cBhvr>
                                        <p:cTn id="45" dur="1" fill="hold">
                                          <p:stCondLst>
                                            <p:cond delay="499"/>
                                          </p:stCondLst>
                                        </p:cTn>
                                        <p:tgtEl>
                                          <p:spTgt spid="42"/>
                                        </p:tgtEl>
                                        <p:attrNameLst>
                                          <p:attrName>style.visibility</p:attrName>
                                        </p:attrNameLst>
                                      </p:cBhvr>
                                      <p:to>
                                        <p:strVal val="hidden"/>
                                      </p:to>
                                    </p:set>
                                  </p:childTnLst>
                                </p:cTn>
                              </p:par>
                            </p:childTnLst>
                          </p:cTn>
                        </p:par>
                      </p:childTnLst>
                    </p:cTn>
                  </p:par>
                </p:childTnLst>
              </p:cTn>
              <p:nextCondLst>
                <p:cond evt="onClick" delay="0">
                  <p:tgtEl>
                    <p:spTgt spid="20"/>
                  </p:tgtEl>
                </p:cond>
              </p:nextCondLst>
            </p:seq>
          </p:childTnLst>
        </p:cTn>
      </p:par>
    </p:tnLst>
    <p:bldLst>
      <p:bldP spid="14" grpId="0" animBg="1"/>
      <p:bldP spid="14" grpId="1" animBg="1"/>
      <p:bldP spid="17" grpId="0" animBg="1"/>
      <p:bldP spid="17" grpId="1" animBg="1"/>
      <p:bldP spid="19" grpId="0" animBg="1"/>
      <p:bldP spid="19"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ex Theme">
  <a:themeElements>
    <a:clrScheme name="Custom 1">
      <a:dk1>
        <a:srgbClr val="000000"/>
      </a:dk1>
      <a:lt1>
        <a:sysClr val="window" lastClr="FFFFFF"/>
      </a:lt1>
      <a:dk2>
        <a:srgbClr val="124C4C"/>
      </a:dk2>
      <a:lt2>
        <a:srgbClr val="7DD5D3"/>
      </a:lt2>
      <a:accent1>
        <a:srgbClr val="234C6B"/>
      </a:accent1>
      <a:accent2>
        <a:srgbClr val="0C5BA7"/>
      </a:accent2>
      <a:accent3>
        <a:srgbClr val="00A4C8"/>
      </a:accent3>
      <a:accent4>
        <a:srgbClr val="C00000"/>
      </a:accent4>
      <a:accent5>
        <a:srgbClr val="EB7F00"/>
      </a:accent5>
      <a:accent6>
        <a:srgbClr val="FFC40C"/>
      </a:accent6>
      <a:hlink>
        <a:srgbClr val="808080"/>
      </a:hlink>
      <a:folHlink>
        <a:srgbClr val="7DD5D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20000"/>
            <a:lumOff val="80000"/>
          </a:schemeClr>
        </a:solidFill>
        <a:ln>
          <a:noFill/>
        </a:ln>
        <a:effectLst/>
      </a:spPr>
      <a:bodyPr rtlCol="0" anchor="ctr"/>
      <a:lstStyle>
        <a:defPPr algn="ctr">
          <a:defRPr sz="14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71450" indent="-171450" algn="l">
          <a:buClr>
            <a:schemeClr val="accent2"/>
          </a:buClr>
          <a:buFont typeface="Arial" panose="020B0604020202020204" pitchFamily="34" charset="0"/>
          <a:buChar char="•"/>
          <a:defRPr sz="1200" dirty="0" smtClean="0"/>
        </a:defPPr>
      </a:lstStyle>
    </a:txDef>
  </a:objectDefaults>
  <a:extraClrSchemeLst/>
  <a:extLst>
    <a:ext uri="{05A4C25C-085E-4340-85A3-A5531E510DB2}">
      <thm15:themeFamily xmlns:thm15="http://schemas.microsoft.com/office/thememl/2012/main" name="Presentation1" id="{362011C9-599C-474B-8C18-DD93F654AE2D}" vid="{AD3293CD-E2EB-49F5-A869-5BDE37C5C6A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738</TotalTime>
  <Words>1288</Words>
  <Application>Microsoft Office PowerPoint</Application>
  <PresentationFormat>Widescreen</PresentationFormat>
  <Paragraphs>206</Paragraphs>
  <Slides>8</Slides>
  <Notes>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rial</vt:lpstr>
      <vt:lpstr>Calibri</vt:lpstr>
      <vt:lpstr>Gil sans</vt:lpstr>
      <vt:lpstr>Gill Sans MT</vt:lpstr>
      <vt:lpstr>Lucida Grande</vt:lpstr>
      <vt:lpstr>Montserrat</vt:lpstr>
      <vt:lpstr>Montserrat Light</vt:lpstr>
      <vt:lpstr>Open Sans Light</vt:lpstr>
      <vt:lpstr>Grex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rrimut</dc:title>
  <dc:creator>Art Cartwright</dc:creator>
  <cp:lastModifiedBy>Michael E</cp:lastModifiedBy>
  <cp:revision>70</cp:revision>
  <dcterms:created xsi:type="dcterms:W3CDTF">2020-03-02T03:20:21Z</dcterms:created>
  <dcterms:modified xsi:type="dcterms:W3CDTF">2021-07-12T08:03:35Z</dcterms:modified>
</cp:coreProperties>
</file>